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28.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29.xml" ContentType="application/vnd.openxmlformats-officedocument.presentationml.tags+xml"/>
  <Override PartName="/ppt/slideLayouts/slideLayout41.xml" ContentType="application/vnd.openxmlformats-officedocument.presentationml.slideLayout+xml"/>
  <Override PartName="/ppt/theme/theme6.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slideLayouts/slideLayout42.xml" ContentType="application/vnd.openxmlformats-officedocument.presentationml.slideLayout+xml"/>
  <Override PartName="/ppt/theme/theme7.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9.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0.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1.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4"/>
    <p:sldMasterId id="2147483894" r:id="rId5"/>
    <p:sldMasterId id="2147483895" r:id="rId6"/>
    <p:sldMasterId id="2147483899" r:id="rId7"/>
    <p:sldMasterId id="2147483996" r:id="rId8"/>
    <p:sldMasterId id="2147484010" r:id="rId9"/>
    <p:sldMasterId id="2147484057" r:id="rId10"/>
    <p:sldMasterId id="2147484059" r:id="rId11"/>
    <p:sldMasterId id="2147484120" r:id="rId12"/>
    <p:sldMasterId id="2147484153" r:id="rId13"/>
    <p:sldMasterId id="2147484178" r:id="rId14"/>
  </p:sldMasterIdLst>
  <p:notesMasterIdLst>
    <p:notesMasterId r:id="rId23"/>
  </p:notesMasterIdLst>
  <p:handoutMasterIdLst>
    <p:handoutMasterId r:id="rId24"/>
  </p:handoutMasterIdLst>
  <p:sldIdLst>
    <p:sldId id="264" r:id="rId15"/>
    <p:sldId id="493" r:id="rId16"/>
    <p:sldId id="640" r:id="rId17"/>
    <p:sldId id="443" r:id="rId18"/>
    <p:sldId id="5035" r:id="rId19"/>
    <p:sldId id="2982" r:id="rId20"/>
    <p:sldId id="2984" r:id="rId21"/>
    <p:sldId id="5036" r:id="rId22"/>
  </p:sldIdLst>
  <p:sldSz cx="13442950" cy="7561263"/>
  <p:notesSz cx="6858000" cy="9144000"/>
  <p:custDataLst>
    <p:tags r:id="rId25"/>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000000"/>
    <a:srgbClr val="CAC8C8"/>
    <a:srgbClr val="8547AD"/>
    <a:srgbClr val="33006F"/>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45248A1-9C78-4B22-88AD-15BF44D2DD48}" v="4" dt="2022-05-20T13:17:50.476"/>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977" autoAdjust="0"/>
  </p:normalViewPr>
  <p:slideViewPr>
    <p:cSldViewPr snapToGrid="0">
      <p:cViewPr varScale="1">
        <p:scale>
          <a:sx n="98" d="100"/>
          <a:sy n="98" d="100"/>
        </p:scale>
        <p:origin x="606" y="9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7.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handoutMaster" Target="handoutMasters/handoutMaster1.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5.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Tull" userId="9b84a4a9-44d8-4d28-b1a8-900a431bc43d" providerId="ADAL" clId="{A04BA11E-879C-4F61-84D5-446AB79F79BC}"/>
    <pc:docChg chg="undo custSel addSld delSld modSld sldOrd addMainMaster delMainMaster modMainMaster">
      <pc:chgData name="Michael Tull" userId="9b84a4a9-44d8-4d28-b1a8-900a431bc43d" providerId="ADAL" clId="{A04BA11E-879C-4F61-84D5-446AB79F79BC}" dt="2022-05-16T09:15:34.078" v="2887"/>
      <pc:docMkLst>
        <pc:docMk/>
      </pc:docMkLst>
      <pc:sldChg chg="add del">
        <pc:chgData name="Michael Tull" userId="9b84a4a9-44d8-4d28-b1a8-900a431bc43d" providerId="ADAL" clId="{A04BA11E-879C-4F61-84D5-446AB79F79BC}" dt="2022-05-13T11:30:56.919" v="298" actId="47"/>
        <pc:sldMkLst>
          <pc:docMk/>
          <pc:sldMk cId="0" sldId="258"/>
        </pc:sldMkLst>
      </pc:sldChg>
      <pc:sldChg chg="add del">
        <pc:chgData name="Michael Tull" userId="9b84a4a9-44d8-4d28-b1a8-900a431bc43d" providerId="ADAL" clId="{A04BA11E-879C-4F61-84D5-446AB79F79BC}" dt="2022-05-13T11:36:04.271" v="458" actId="47"/>
        <pc:sldMkLst>
          <pc:docMk/>
          <pc:sldMk cId="0" sldId="260"/>
        </pc:sldMkLst>
      </pc:sldChg>
      <pc:sldChg chg="delSp modSp add del mod">
        <pc:chgData name="Michael Tull" userId="9b84a4a9-44d8-4d28-b1a8-900a431bc43d" providerId="ADAL" clId="{A04BA11E-879C-4F61-84D5-446AB79F79BC}" dt="2022-05-16T09:05:35.408" v="2425"/>
        <pc:sldMkLst>
          <pc:docMk/>
          <pc:sldMk cId="1492095303" sldId="264"/>
        </pc:sldMkLst>
        <pc:spChg chg="mod">
          <ac:chgData name="Michael Tull" userId="9b84a4a9-44d8-4d28-b1a8-900a431bc43d" providerId="ADAL" clId="{A04BA11E-879C-4F61-84D5-446AB79F79BC}" dt="2022-05-13T11:20:10.380" v="258" actId="1076"/>
          <ac:spMkLst>
            <pc:docMk/>
            <pc:sldMk cId="1492095303" sldId="264"/>
            <ac:spMk id="2" creationId="{00000000-0000-0000-0000-000000000000}"/>
          </ac:spMkLst>
        </pc:spChg>
        <pc:spChg chg="mod">
          <ac:chgData name="Michael Tull" userId="9b84a4a9-44d8-4d28-b1a8-900a431bc43d" providerId="ADAL" clId="{A04BA11E-879C-4F61-84D5-446AB79F79BC}" dt="2022-05-13T11:20:10.380" v="258" actId="1076"/>
          <ac:spMkLst>
            <pc:docMk/>
            <pc:sldMk cId="1492095303" sldId="264"/>
            <ac:spMk id="3" creationId="{00000000-0000-0000-0000-000000000000}"/>
          </ac:spMkLst>
        </pc:spChg>
        <pc:spChg chg="del">
          <ac:chgData name="Michael Tull" userId="9b84a4a9-44d8-4d28-b1a8-900a431bc43d" providerId="ADAL" clId="{A04BA11E-879C-4F61-84D5-446AB79F79BC}" dt="2022-05-13T11:20:04.159" v="257" actId="478"/>
          <ac:spMkLst>
            <pc:docMk/>
            <pc:sldMk cId="1492095303" sldId="264"/>
            <ac:spMk id="5" creationId="{00000000-0000-0000-0000-000000000000}"/>
          </ac:spMkLst>
        </pc:spChg>
        <pc:picChg chg="mod">
          <ac:chgData name="Michael Tull" userId="9b84a4a9-44d8-4d28-b1a8-900a431bc43d" providerId="ADAL" clId="{A04BA11E-879C-4F61-84D5-446AB79F79BC}" dt="2022-05-16T09:05:35.408" v="2425"/>
          <ac:picMkLst>
            <pc:docMk/>
            <pc:sldMk cId="1492095303" sldId="264"/>
            <ac:picMk id="8" creationId="{00000000-0000-0000-0000-000000000000}"/>
          </ac:picMkLst>
        </pc:picChg>
      </pc:sldChg>
      <pc:sldChg chg="add del">
        <pc:chgData name="Michael Tull" userId="9b84a4a9-44d8-4d28-b1a8-900a431bc43d" providerId="ADAL" clId="{A04BA11E-879C-4F61-84D5-446AB79F79BC}" dt="2022-05-13T11:38:24.077" v="557" actId="47"/>
        <pc:sldMkLst>
          <pc:docMk/>
          <pc:sldMk cId="0" sldId="266"/>
        </pc:sldMkLst>
      </pc:sldChg>
      <pc:sldChg chg="modSp mod ord">
        <pc:chgData name="Michael Tull" userId="9b84a4a9-44d8-4d28-b1a8-900a431bc43d" providerId="ADAL" clId="{A04BA11E-879C-4F61-84D5-446AB79F79BC}" dt="2022-05-16T09:05:35.418" v="2426"/>
        <pc:sldMkLst>
          <pc:docMk/>
          <pc:sldMk cId="1012957495" sldId="493"/>
        </pc:sldMkLst>
        <pc:spChg chg="mod">
          <ac:chgData name="Michael Tull" userId="9b84a4a9-44d8-4d28-b1a8-900a431bc43d" providerId="ADAL" clId="{A04BA11E-879C-4F61-84D5-446AB79F79BC}" dt="2022-05-16T09:05:35.418" v="2426"/>
          <ac:spMkLst>
            <pc:docMk/>
            <pc:sldMk cId="1012957495" sldId="493"/>
            <ac:spMk id="4" creationId="{4751314A-3C88-43D1-ABBC-B774A7615200}"/>
          </ac:spMkLst>
        </pc:spChg>
        <pc:spChg chg="mod">
          <ac:chgData name="Michael Tull" userId="9b84a4a9-44d8-4d28-b1a8-900a431bc43d" providerId="ADAL" clId="{A04BA11E-879C-4F61-84D5-446AB79F79BC}" dt="2022-05-16T09:05:19.005" v="2372" actId="14100"/>
          <ac:spMkLst>
            <pc:docMk/>
            <pc:sldMk cId="1012957495" sldId="493"/>
            <ac:spMk id="6" creationId="{688E61DA-825B-4833-B1B4-D4771346853E}"/>
          </ac:spMkLst>
        </pc:spChg>
      </pc:sldChg>
      <pc:sldChg chg="delSp del mod">
        <pc:chgData name="Michael Tull" userId="9b84a4a9-44d8-4d28-b1a8-900a431bc43d" providerId="ADAL" clId="{A04BA11E-879C-4F61-84D5-446AB79F79BC}" dt="2022-05-13T11:22:10.266" v="280" actId="47"/>
        <pc:sldMkLst>
          <pc:docMk/>
          <pc:sldMk cId="923753456" sldId="609"/>
        </pc:sldMkLst>
        <pc:picChg chg="del">
          <ac:chgData name="Michael Tull" userId="9b84a4a9-44d8-4d28-b1a8-900a431bc43d" providerId="ADAL" clId="{A04BA11E-879C-4F61-84D5-446AB79F79BC}" dt="2022-05-13T11:20:24.085" v="260" actId="478"/>
          <ac:picMkLst>
            <pc:docMk/>
            <pc:sldMk cId="923753456" sldId="609"/>
            <ac:picMk id="3" creationId="{75AAE480-0CC0-4682-B478-41C94B1A8770}"/>
          </ac:picMkLst>
        </pc:picChg>
        <pc:picChg chg="del">
          <ac:chgData name="Michael Tull" userId="9b84a4a9-44d8-4d28-b1a8-900a431bc43d" providerId="ADAL" clId="{A04BA11E-879C-4F61-84D5-446AB79F79BC}" dt="2022-05-13T11:20:23.674" v="259" actId="478"/>
          <ac:picMkLst>
            <pc:docMk/>
            <pc:sldMk cId="923753456" sldId="609"/>
            <ac:picMk id="12" creationId="{9F01ED7C-7D7F-4C4D-B0C6-55D6D6E0A332}"/>
          </ac:picMkLst>
        </pc:picChg>
        <pc:picChg chg="del">
          <ac:chgData name="Michael Tull" userId="9b84a4a9-44d8-4d28-b1a8-900a431bc43d" providerId="ADAL" clId="{A04BA11E-879C-4F61-84D5-446AB79F79BC}" dt="2022-05-13T11:20:26.580" v="264" actId="478"/>
          <ac:picMkLst>
            <pc:docMk/>
            <pc:sldMk cId="923753456" sldId="609"/>
            <ac:picMk id="13" creationId="{846628F8-FF5F-4661-82A4-119E331531D3}"/>
          </ac:picMkLst>
        </pc:picChg>
        <pc:picChg chg="del">
          <ac:chgData name="Michael Tull" userId="9b84a4a9-44d8-4d28-b1a8-900a431bc43d" providerId="ADAL" clId="{A04BA11E-879C-4F61-84D5-446AB79F79BC}" dt="2022-05-13T11:20:24.505" v="261" actId="478"/>
          <ac:picMkLst>
            <pc:docMk/>
            <pc:sldMk cId="923753456" sldId="609"/>
            <ac:picMk id="14" creationId="{4DDF6E67-8E9D-4EAE-B8A1-181A4CD206CD}"/>
          </ac:picMkLst>
        </pc:picChg>
        <pc:picChg chg="del">
          <ac:chgData name="Michael Tull" userId="9b84a4a9-44d8-4d28-b1a8-900a431bc43d" providerId="ADAL" clId="{A04BA11E-879C-4F61-84D5-446AB79F79BC}" dt="2022-05-13T11:20:27.044" v="265" actId="478"/>
          <ac:picMkLst>
            <pc:docMk/>
            <pc:sldMk cId="923753456" sldId="609"/>
            <ac:picMk id="16" creationId="{E1513B2F-250F-4D10-BFD7-9DEDDBF952A5}"/>
          </ac:picMkLst>
        </pc:picChg>
        <pc:picChg chg="del">
          <ac:chgData name="Michael Tull" userId="9b84a4a9-44d8-4d28-b1a8-900a431bc43d" providerId="ADAL" clId="{A04BA11E-879C-4F61-84D5-446AB79F79BC}" dt="2022-05-13T11:20:25.966" v="263" actId="478"/>
          <ac:picMkLst>
            <pc:docMk/>
            <pc:sldMk cId="923753456" sldId="609"/>
            <ac:picMk id="17" creationId="{407B0F82-52A6-4921-8F72-E74D6BE42AA5}"/>
          </ac:picMkLst>
        </pc:picChg>
        <pc:picChg chg="del">
          <ac:chgData name="Michael Tull" userId="9b84a4a9-44d8-4d28-b1a8-900a431bc43d" providerId="ADAL" clId="{A04BA11E-879C-4F61-84D5-446AB79F79BC}" dt="2022-05-13T11:20:24.989" v="262" actId="478"/>
          <ac:picMkLst>
            <pc:docMk/>
            <pc:sldMk cId="923753456" sldId="609"/>
            <ac:picMk id="18" creationId="{00000000-0000-0000-0000-000000000000}"/>
          </ac:picMkLst>
        </pc:picChg>
        <pc:picChg chg="del">
          <ac:chgData name="Michael Tull" userId="9b84a4a9-44d8-4d28-b1a8-900a431bc43d" providerId="ADAL" clId="{A04BA11E-879C-4F61-84D5-446AB79F79BC}" dt="2022-05-13T11:20:27.509" v="266" actId="478"/>
          <ac:picMkLst>
            <pc:docMk/>
            <pc:sldMk cId="923753456" sldId="609"/>
            <ac:picMk id="19" creationId="{64640DA9-F8EF-440C-AD38-943966BC0F4B}"/>
          </ac:picMkLst>
        </pc:picChg>
      </pc:sldChg>
      <pc:sldChg chg="modSp mod ord">
        <pc:chgData name="Michael Tull" userId="9b84a4a9-44d8-4d28-b1a8-900a431bc43d" providerId="ADAL" clId="{A04BA11E-879C-4F61-84D5-446AB79F79BC}" dt="2022-05-16T09:05:35.434" v="2427"/>
        <pc:sldMkLst>
          <pc:docMk/>
          <pc:sldMk cId="821890131" sldId="640"/>
        </pc:sldMkLst>
        <pc:spChg chg="mod">
          <ac:chgData name="Michael Tull" userId="9b84a4a9-44d8-4d28-b1a8-900a431bc43d" providerId="ADAL" clId="{A04BA11E-879C-4F61-84D5-446AB79F79BC}" dt="2022-05-16T08:56:53.846" v="2160" actId="108"/>
          <ac:spMkLst>
            <pc:docMk/>
            <pc:sldMk cId="821890131" sldId="640"/>
            <ac:spMk id="2" creationId="{1559F55E-F9D5-4AD3-A0AF-B61A53DD127E}"/>
          </ac:spMkLst>
        </pc:spChg>
        <pc:spChg chg="mod">
          <ac:chgData name="Michael Tull" userId="9b84a4a9-44d8-4d28-b1a8-900a431bc43d" providerId="ADAL" clId="{A04BA11E-879C-4F61-84D5-446AB79F79BC}" dt="2022-05-16T09:05:35.434" v="2427"/>
          <ac:spMkLst>
            <pc:docMk/>
            <pc:sldMk cId="821890131" sldId="640"/>
            <ac:spMk id="3" creationId="{757CA8F4-F313-4D05-9B95-F8A687EADC27}"/>
          </ac:spMkLst>
        </pc:spChg>
        <pc:spChg chg="mod">
          <ac:chgData name="Michael Tull" userId="9b84a4a9-44d8-4d28-b1a8-900a431bc43d" providerId="ADAL" clId="{A04BA11E-879C-4F61-84D5-446AB79F79BC}" dt="2022-05-16T09:04:01.467" v="2254" actId="14100"/>
          <ac:spMkLst>
            <pc:docMk/>
            <pc:sldMk cId="821890131" sldId="640"/>
            <ac:spMk id="4" creationId="{422EF565-81E4-48D8-92A4-B43561DA588A}"/>
          </ac:spMkLst>
        </pc:spChg>
        <pc:graphicFrameChg chg="mod">
          <ac:chgData name="Michael Tull" userId="9b84a4a9-44d8-4d28-b1a8-900a431bc43d" providerId="ADAL" clId="{A04BA11E-879C-4F61-84D5-446AB79F79BC}" dt="2022-05-16T09:03:14.016" v="2166" actId="208"/>
          <ac:graphicFrameMkLst>
            <pc:docMk/>
            <pc:sldMk cId="821890131" sldId="640"/>
            <ac:graphicFrameMk id="9" creationId="{20552757-A9FE-48D9-A8CD-515ADB61A020}"/>
          </ac:graphicFrameMkLst>
        </pc:graphicFrameChg>
      </pc:sldChg>
      <pc:sldChg chg="del">
        <pc:chgData name="Michael Tull" userId="9b84a4a9-44d8-4d28-b1a8-900a431bc43d" providerId="ADAL" clId="{A04BA11E-879C-4F61-84D5-446AB79F79BC}" dt="2022-05-13T11:22:22.389" v="281" actId="47"/>
        <pc:sldMkLst>
          <pc:docMk/>
          <pc:sldMk cId="997944438" sldId="641"/>
        </pc:sldMkLst>
      </pc:sldChg>
      <pc:sldChg chg="addSp delSp modSp del mod">
        <pc:chgData name="Michael Tull" userId="9b84a4a9-44d8-4d28-b1a8-900a431bc43d" providerId="ADAL" clId="{A04BA11E-879C-4F61-84D5-446AB79F79BC}" dt="2022-05-16T09:07:11.854" v="2463" actId="47"/>
        <pc:sldMkLst>
          <pc:docMk/>
          <pc:sldMk cId="4263795909" sldId="642"/>
        </pc:sldMkLst>
        <pc:spChg chg="add mod">
          <ac:chgData name="Michael Tull" userId="9b84a4a9-44d8-4d28-b1a8-900a431bc43d" providerId="ADAL" clId="{A04BA11E-879C-4F61-84D5-446AB79F79BC}" dt="2022-05-16T08:53:13.367" v="1654" actId="1076"/>
          <ac:spMkLst>
            <pc:docMk/>
            <pc:sldMk cId="4263795909" sldId="642"/>
            <ac:spMk id="2" creationId="{4724269E-A1EF-4522-9422-003793C17C1E}"/>
          </ac:spMkLst>
        </pc:spChg>
        <pc:spChg chg="mod">
          <ac:chgData name="Michael Tull" userId="9b84a4a9-44d8-4d28-b1a8-900a431bc43d" providerId="ADAL" clId="{A04BA11E-879C-4F61-84D5-446AB79F79BC}" dt="2022-05-16T09:04:48.637" v="2298"/>
          <ac:spMkLst>
            <pc:docMk/>
            <pc:sldMk cId="4263795909" sldId="642"/>
            <ac:spMk id="8" creationId="{8CE2EC38-38FD-435C-947B-C3C5F67225A6}"/>
          </ac:spMkLst>
        </pc:spChg>
        <pc:spChg chg="del">
          <ac:chgData name="Michael Tull" userId="9b84a4a9-44d8-4d28-b1a8-900a431bc43d" providerId="ADAL" clId="{A04BA11E-879C-4F61-84D5-446AB79F79BC}" dt="2022-05-13T12:23:14.020" v="876" actId="478"/>
          <ac:spMkLst>
            <pc:docMk/>
            <pc:sldMk cId="4263795909" sldId="642"/>
            <ac:spMk id="9" creationId="{DC685BA2-404D-47FF-B197-977A212367EC}"/>
          </ac:spMkLst>
        </pc:spChg>
        <pc:spChg chg="mod">
          <ac:chgData name="Michael Tull" userId="9b84a4a9-44d8-4d28-b1a8-900a431bc43d" providerId="ADAL" clId="{A04BA11E-879C-4F61-84D5-446AB79F79BC}" dt="2022-05-16T08:53:42.640" v="1761" actId="6549"/>
          <ac:spMkLst>
            <pc:docMk/>
            <pc:sldMk cId="4263795909" sldId="642"/>
            <ac:spMk id="10" creationId="{9EB4A4F0-C973-471B-900E-449C6533A419}"/>
          </ac:spMkLst>
        </pc:spChg>
        <pc:spChg chg="del">
          <ac:chgData name="Michael Tull" userId="9b84a4a9-44d8-4d28-b1a8-900a431bc43d" providerId="ADAL" clId="{A04BA11E-879C-4F61-84D5-446AB79F79BC}" dt="2022-05-13T12:22:35.179" v="853" actId="931"/>
          <ac:spMkLst>
            <pc:docMk/>
            <pc:sldMk cId="4263795909" sldId="642"/>
            <ac:spMk id="11" creationId="{41F85555-B031-4196-B5AC-A726400ED466}"/>
          </ac:spMkLst>
        </pc:spChg>
        <pc:spChg chg="mod">
          <ac:chgData name="Michael Tull" userId="9b84a4a9-44d8-4d28-b1a8-900a431bc43d" providerId="ADAL" clId="{A04BA11E-879C-4F61-84D5-446AB79F79BC}" dt="2022-05-16T08:53:11.790" v="1653" actId="1036"/>
          <ac:spMkLst>
            <pc:docMk/>
            <pc:sldMk cId="4263795909" sldId="642"/>
            <ac:spMk id="12" creationId="{855BFE89-245E-4C98-B2C6-09861097BD0C}"/>
          </ac:spMkLst>
        </pc:spChg>
        <pc:spChg chg="del">
          <ac:chgData name="Michael Tull" userId="9b84a4a9-44d8-4d28-b1a8-900a431bc43d" providerId="ADAL" clId="{A04BA11E-879C-4F61-84D5-446AB79F79BC}" dt="2022-05-13T12:22:56.139" v="870" actId="478"/>
          <ac:spMkLst>
            <pc:docMk/>
            <pc:sldMk cId="4263795909" sldId="642"/>
            <ac:spMk id="13" creationId="{338F1612-F4CD-4665-8F36-7391E3893C9B}"/>
          </ac:spMkLst>
        </pc:spChg>
        <pc:spChg chg="del mod">
          <ac:chgData name="Michael Tull" userId="9b84a4a9-44d8-4d28-b1a8-900a431bc43d" providerId="ADAL" clId="{A04BA11E-879C-4F61-84D5-446AB79F79BC}" dt="2022-05-13T12:22:38.859" v="856" actId="931"/>
          <ac:spMkLst>
            <pc:docMk/>
            <pc:sldMk cId="4263795909" sldId="642"/>
            <ac:spMk id="14" creationId="{5D6A4043-5581-40D7-8575-F48A53C430B4}"/>
          </ac:spMkLst>
        </pc:spChg>
        <pc:spChg chg="mod">
          <ac:chgData name="Michael Tull" userId="9b84a4a9-44d8-4d28-b1a8-900a431bc43d" providerId="ADAL" clId="{A04BA11E-879C-4F61-84D5-446AB79F79BC}" dt="2022-05-16T08:53:11.790" v="1653" actId="1036"/>
          <ac:spMkLst>
            <pc:docMk/>
            <pc:sldMk cId="4263795909" sldId="642"/>
            <ac:spMk id="15" creationId="{114A3D26-E863-4BC8-B595-B80AB42755B5}"/>
          </ac:spMkLst>
        </pc:spChg>
        <pc:spChg chg="del">
          <ac:chgData name="Michael Tull" userId="9b84a4a9-44d8-4d28-b1a8-900a431bc43d" providerId="ADAL" clId="{A04BA11E-879C-4F61-84D5-446AB79F79BC}" dt="2022-05-13T12:22:57.139" v="871" actId="478"/>
          <ac:spMkLst>
            <pc:docMk/>
            <pc:sldMk cId="4263795909" sldId="642"/>
            <ac:spMk id="16" creationId="{E63F6035-BAE7-4582-A8E1-117797AB7EB6}"/>
          </ac:spMkLst>
        </pc:spChg>
        <pc:spChg chg="del">
          <ac:chgData name="Michael Tull" userId="9b84a4a9-44d8-4d28-b1a8-900a431bc43d" providerId="ADAL" clId="{A04BA11E-879C-4F61-84D5-446AB79F79BC}" dt="2022-05-13T12:22:41.058" v="857" actId="931"/>
          <ac:spMkLst>
            <pc:docMk/>
            <pc:sldMk cId="4263795909" sldId="642"/>
            <ac:spMk id="17" creationId="{4FB57BB9-B059-4BC3-AA82-255C2BC27461}"/>
          </ac:spMkLst>
        </pc:spChg>
        <pc:spChg chg="mod">
          <ac:chgData name="Michael Tull" userId="9b84a4a9-44d8-4d28-b1a8-900a431bc43d" providerId="ADAL" clId="{A04BA11E-879C-4F61-84D5-446AB79F79BC}" dt="2022-05-16T08:53:11.790" v="1653" actId="1036"/>
          <ac:spMkLst>
            <pc:docMk/>
            <pc:sldMk cId="4263795909" sldId="642"/>
            <ac:spMk id="18" creationId="{70C5D0A9-1D5E-41BA-96A4-6CC3D80C0804}"/>
          </ac:spMkLst>
        </pc:spChg>
        <pc:spChg chg="del">
          <ac:chgData name="Michael Tull" userId="9b84a4a9-44d8-4d28-b1a8-900a431bc43d" providerId="ADAL" clId="{A04BA11E-879C-4F61-84D5-446AB79F79BC}" dt="2022-05-13T12:22:59.283" v="872" actId="478"/>
          <ac:spMkLst>
            <pc:docMk/>
            <pc:sldMk cId="4263795909" sldId="642"/>
            <ac:spMk id="19" creationId="{611478A9-B159-45BE-BD21-1D48E484C78E}"/>
          </ac:spMkLst>
        </pc:spChg>
        <pc:spChg chg="del">
          <ac:chgData name="Michael Tull" userId="9b84a4a9-44d8-4d28-b1a8-900a431bc43d" providerId="ADAL" clId="{A04BA11E-879C-4F61-84D5-446AB79F79BC}" dt="2022-05-13T12:22:43.809" v="859" actId="931"/>
          <ac:spMkLst>
            <pc:docMk/>
            <pc:sldMk cId="4263795909" sldId="642"/>
            <ac:spMk id="20" creationId="{935E4FA3-9361-4C7E-AAAD-20D7A0081566}"/>
          </ac:spMkLst>
        </pc:spChg>
        <pc:spChg chg="mod">
          <ac:chgData name="Michael Tull" userId="9b84a4a9-44d8-4d28-b1a8-900a431bc43d" providerId="ADAL" clId="{A04BA11E-879C-4F61-84D5-446AB79F79BC}" dt="2022-05-16T08:53:11.790" v="1653" actId="1036"/>
          <ac:spMkLst>
            <pc:docMk/>
            <pc:sldMk cId="4263795909" sldId="642"/>
            <ac:spMk id="21" creationId="{FE5DDC98-23A9-4171-AF84-04A9C34DF6B0}"/>
          </ac:spMkLst>
        </pc:spChg>
        <pc:spChg chg="del">
          <ac:chgData name="Michael Tull" userId="9b84a4a9-44d8-4d28-b1a8-900a431bc43d" providerId="ADAL" clId="{A04BA11E-879C-4F61-84D5-446AB79F79BC}" dt="2022-05-13T12:23:00.467" v="873" actId="478"/>
          <ac:spMkLst>
            <pc:docMk/>
            <pc:sldMk cId="4263795909" sldId="642"/>
            <ac:spMk id="22" creationId="{2A77EB6A-85E1-4369-9DCF-14F19578BD07}"/>
          </ac:spMkLst>
        </pc:spChg>
        <pc:spChg chg="del">
          <ac:chgData name="Michael Tull" userId="9b84a4a9-44d8-4d28-b1a8-900a431bc43d" providerId="ADAL" clId="{A04BA11E-879C-4F61-84D5-446AB79F79BC}" dt="2022-05-13T12:22:46.623" v="862" actId="931"/>
          <ac:spMkLst>
            <pc:docMk/>
            <pc:sldMk cId="4263795909" sldId="642"/>
            <ac:spMk id="23" creationId="{9056001A-471A-43BF-A017-510A27A719C2}"/>
          </ac:spMkLst>
        </pc:spChg>
        <pc:spChg chg="mod">
          <ac:chgData name="Michael Tull" userId="9b84a4a9-44d8-4d28-b1a8-900a431bc43d" providerId="ADAL" clId="{A04BA11E-879C-4F61-84D5-446AB79F79BC}" dt="2022-05-16T08:53:11.790" v="1653" actId="1036"/>
          <ac:spMkLst>
            <pc:docMk/>
            <pc:sldMk cId="4263795909" sldId="642"/>
            <ac:spMk id="24" creationId="{6F8B394A-6EB8-4DBB-BE01-E6B7A6130393}"/>
          </ac:spMkLst>
        </pc:spChg>
        <pc:spChg chg="del">
          <ac:chgData name="Michael Tull" userId="9b84a4a9-44d8-4d28-b1a8-900a431bc43d" providerId="ADAL" clId="{A04BA11E-879C-4F61-84D5-446AB79F79BC}" dt="2022-05-13T12:23:01.508" v="874" actId="478"/>
          <ac:spMkLst>
            <pc:docMk/>
            <pc:sldMk cId="4263795909" sldId="642"/>
            <ac:spMk id="25" creationId="{072993C4-DD74-40FD-97B3-D3471B564C51}"/>
          </ac:spMkLst>
        </pc:spChg>
        <pc:spChg chg="del mod">
          <ac:chgData name="Michael Tull" userId="9b84a4a9-44d8-4d28-b1a8-900a431bc43d" providerId="ADAL" clId="{A04BA11E-879C-4F61-84D5-446AB79F79BC}" dt="2022-05-13T12:22:49.494" v="865" actId="931"/>
          <ac:spMkLst>
            <pc:docMk/>
            <pc:sldMk cId="4263795909" sldId="642"/>
            <ac:spMk id="26" creationId="{553AB67A-9D2B-4FEE-99E1-296B5ED772FA}"/>
          </ac:spMkLst>
        </pc:spChg>
        <pc:spChg chg="mod">
          <ac:chgData name="Michael Tull" userId="9b84a4a9-44d8-4d28-b1a8-900a431bc43d" providerId="ADAL" clId="{A04BA11E-879C-4F61-84D5-446AB79F79BC}" dt="2022-05-16T08:53:11.790" v="1653" actId="1036"/>
          <ac:spMkLst>
            <pc:docMk/>
            <pc:sldMk cId="4263795909" sldId="642"/>
            <ac:spMk id="27" creationId="{943B9773-826B-401E-A0FE-70277076D526}"/>
          </ac:spMkLst>
        </pc:spChg>
        <pc:spChg chg="del">
          <ac:chgData name="Michael Tull" userId="9b84a4a9-44d8-4d28-b1a8-900a431bc43d" providerId="ADAL" clId="{A04BA11E-879C-4F61-84D5-446AB79F79BC}" dt="2022-05-13T12:23:02.407" v="875" actId="478"/>
          <ac:spMkLst>
            <pc:docMk/>
            <pc:sldMk cId="4263795909" sldId="642"/>
            <ac:spMk id="28" creationId="{39345EC6-28AA-436A-9D9B-1A9655E3BD77}"/>
          </ac:spMkLst>
        </pc:spChg>
        <pc:picChg chg="add mod">
          <ac:chgData name="Michael Tull" userId="9b84a4a9-44d8-4d28-b1a8-900a431bc43d" providerId="ADAL" clId="{A04BA11E-879C-4F61-84D5-446AB79F79BC}" dt="2022-05-16T09:04:48.637" v="2298"/>
          <ac:picMkLst>
            <pc:docMk/>
            <pc:sldMk cId="4263795909" sldId="642"/>
            <ac:picMk id="30" creationId="{C57E4F6B-6DD0-43CF-8284-EF1027995272}"/>
          </ac:picMkLst>
        </pc:picChg>
        <pc:picChg chg="add mod">
          <ac:chgData name="Michael Tull" userId="9b84a4a9-44d8-4d28-b1a8-900a431bc43d" providerId="ADAL" clId="{A04BA11E-879C-4F61-84D5-446AB79F79BC}" dt="2022-05-16T09:04:48.637" v="2298"/>
          <ac:picMkLst>
            <pc:docMk/>
            <pc:sldMk cId="4263795909" sldId="642"/>
            <ac:picMk id="32" creationId="{99BFA1C7-3212-4E19-918D-F6EF6FE44DAD}"/>
          </ac:picMkLst>
        </pc:picChg>
        <pc:picChg chg="add mod">
          <ac:chgData name="Michael Tull" userId="9b84a4a9-44d8-4d28-b1a8-900a431bc43d" providerId="ADAL" clId="{A04BA11E-879C-4F61-84D5-446AB79F79BC}" dt="2022-05-16T09:04:48.637" v="2298"/>
          <ac:picMkLst>
            <pc:docMk/>
            <pc:sldMk cId="4263795909" sldId="642"/>
            <ac:picMk id="34" creationId="{73D1E975-ECB7-4D56-ACCE-2F3255F5473C}"/>
          </ac:picMkLst>
        </pc:picChg>
        <pc:picChg chg="add mod">
          <ac:chgData name="Michael Tull" userId="9b84a4a9-44d8-4d28-b1a8-900a431bc43d" providerId="ADAL" clId="{A04BA11E-879C-4F61-84D5-446AB79F79BC}" dt="2022-05-16T09:04:48.637" v="2298"/>
          <ac:picMkLst>
            <pc:docMk/>
            <pc:sldMk cId="4263795909" sldId="642"/>
            <ac:picMk id="36" creationId="{659D28FB-C369-474C-B702-5227260E38B5}"/>
          </ac:picMkLst>
        </pc:picChg>
        <pc:picChg chg="add mod">
          <ac:chgData name="Michael Tull" userId="9b84a4a9-44d8-4d28-b1a8-900a431bc43d" providerId="ADAL" clId="{A04BA11E-879C-4F61-84D5-446AB79F79BC}" dt="2022-05-16T09:04:48.637" v="2298"/>
          <ac:picMkLst>
            <pc:docMk/>
            <pc:sldMk cId="4263795909" sldId="642"/>
            <ac:picMk id="38" creationId="{7CD3534F-3DFF-4EA6-8002-F1AA214E6993}"/>
          </ac:picMkLst>
        </pc:picChg>
        <pc:picChg chg="add mod">
          <ac:chgData name="Michael Tull" userId="9b84a4a9-44d8-4d28-b1a8-900a431bc43d" providerId="ADAL" clId="{A04BA11E-879C-4F61-84D5-446AB79F79BC}" dt="2022-05-16T09:04:48.637" v="2298"/>
          <ac:picMkLst>
            <pc:docMk/>
            <pc:sldMk cId="4263795909" sldId="642"/>
            <ac:picMk id="40" creationId="{A90F892B-1357-4CD1-8B7C-E55D5FCF3421}"/>
          </ac:picMkLst>
        </pc:picChg>
      </pc:sldChg>
      <pc:sldChg chg="new del">
        <pc:chgData name="Michael Tull" userId="9b84a4a9-44d8-4d28-b1a8-900a431bc43d" providerId="ADAL" clId="{A04BA11E-879C-4F61-84D5-446AB79F79BC}" dt="2022-05-13T11:19:43.171" v="167" actId="47"/>
        <pc:sldMkLst>
          <pc:docMk/>
          <pc:sldMk cId="977809749" sldId="643"/>
        </pc:sldMkLst>
      </pc:sldChg>
      <pc:sldChg chg="delSp add del mod">
        <pc:chgData name="Michael Tull" userId="9b84a4a9-44d8-4d28-b1a8-900a431bc43d" providerId="ADAL" clId="{A04BA11E-879C-4F61-84D5-446AB79F79BC}" dt="2022-05-13T12:35:22.392" v="1230" actId="47"/>
        <pc:sldMkLst>
          <pc:docMk/>
          <pc:sldMk cId="2413628421" sldId="2977"/>
        </pc:sldMkLst>
        <pc:picChg chg="del">
          <ac:chgData name="Michael Tull" userId="9b84a4a9-44d8-4d28-b1a8-900a431bc43d" providerId="ADAL" clId="{A04BA11E-879C-4F61-84D5-446AB79F79BC}" dt="2022-05-13T12:25:11.527" v="882" actId="478"/>
          <ac:picMkLst>
            <pc:docMk/>
            <pc:sldMk cId="2413628421" sldId="2977"/>
            <ac:picMk id="11" creationId="{81B1B5A4-05F5-41BB-B073-41B8E508CFB5}"/>
          </ac:picMkLst>
        </pc:picChg>
        <pc:picChg chg="del">
          <ac:chgData name="Michael Tull" userId="9b84a4a9-44d8-4d28-b1a8-900a431bc43d" providerId="ADAL" clId="{A04BA11E-879C-4F61-84D5-446AB79F79BC}" dt="2022-05-13T12:25:12.802" v="885" actId="478"/>
          <ac:picMkLst>
            <pc:docMk/>
            <pc:sldMk cId="2413628421" sldId="2977"/>
            <ac:picMk id="18" creationId="{6D07118C-2B28-4951-BF0B-6965729E751D}"/>
          </ac:picMkLst>
        </pc:picChg>
        <pc:picChg chg="del">
          <ac:chgData name="Michael Tull" userId="9b84a4a9-44d8-4d28-b1a8-900a431bc43d" providerId="ADAL" clId="{A04BA11E-879C-4F61-84D5-446AB79F79BC}" dt="2022-05-13T12:25:13.304" v="886" actId="478"/>
          <ac:picMkLst>
            <pc:docMk/>
            <pc:sldMk cId="2413628421" sldId="2977"/>
            <ac:picMk id="26" creationId="{1271387D-D4CE-426E-A073-C745BBAE6D8E}"/>
          </ac:picMkLst>
        </pc:picChg>
        <pc:picChg chg="del">
          <ac:chgData name="Michael Tull" userId="9b84a4a9-44d8-4d28-b1a8-900a431bc43d" providerId="ADAL" clId="{A04BA11E-879C-4F61-84D5-446AB79F79BC}" dt="2022-05-13T12:25:11.931" v="883" actId="478"/>
          <ac:picMkLst>
            <pc:docMk/>
            <pc:sldMk cId="2413628421" sldId="2977"/>
            <ac:picMk id="81" creationId="{6EC5238C-93A0-4A2C-8B2D-B5FFFF2B0596}"/>
          </ac:picMkLst>
        </pc:picChg>
        <pc:picChg chg="del">
          <ac:chgData name="Michael Tull" userId="9b84a4a9-44d8-4d28-b1a8-900a431bc43d" providerId="ADAL" clId="{A04BA11E-879C-4F61-84D5-446AB79F79BC}" dt="2022-05-13T12:25:12.342" v="884" actId="478"/>
          <ac:picMkLst>
            <pc:docMk/>
            <pc:sldMk cId="2413628421" sldId="2977"/>
            <ac:picMk id="86" creationId="{59DB4EB4-A85A-4493-A8D5-748A29A4F620}"/>
          </ac:picMkLst>
        </pc:picChg>
      </pc:sldChg>
      <pc:sldChg chg="addSp modSp add del mod">
        <pc:chgData name="Michael Tull" userId="9b84a4a9-44d8-4d28-b1a8-900a431bc43d" providerId="ADAL" clId="{A04BA11E-879C-4F61-84D5-446AB79F79BC}" dt="2022-05-16T09:14:55.145" v="2885" actId="6549"/>
        <pc:sldMkLst>
          <pc:docMk/>
          <pc:sldMk cId="307993181" sldId="2982"/>
        </pc:sldMkLst>
        <pc:spChg chg="add mod">
          <ac:chgData name="Michael Tull" userId="9b84a4a9-44d8-4d28-b1a8-900a431bc43d" providerId="ADAL" clId="{A04BA11E-879C-4F61-84D5-446AB79F79BC}" dt="2022-05-16T09:13:46.674" v="2570" actId="1038"/>
          <ac:spMkLst>
            <pc:docMk/>
            <pc:sldMk cId="307993181" sldId="2982"/>
            <ac:spMk id="2" creationId="{80019222-C37F-4420-9451-4B95FB939670}"/>
          </ac:spMkLst>
        </pc:spChg>
        <pc:spChg chg="mod">
          <ac:chgData name="Michael Tull" userId="9b84a4a9-44d8-4d28-b1a8-900a431bc43d" providerId="ADAL" clId="{A04BA11E-879C-4F61-84D5-446AB79F79BC}" dt="2022-05-13T11:22:00.717" v="278" actId="20577"/>
          <ac:spMkLst>
            <pc:docMk/>
            <pc:sldMk cId="307993181" sldId="2982"/>
            <ac:spMk id="3" creationId="{6B66A4A6-D7C6-41D9-ABDA-3E10CA4B4CC0}"/>
          </ac:spMkLst>
        </pc:spChg>
        <pc:spChg chg="mod">
          <ac:chgData name="Michael Tull" userId="9b84a4a9-44d8-4d28-b1a8-900a431bc43d" providerId="ADAL" clId="{A04BA11E-879C-4F61-84D5-446AB79F79BC}" dt="2022-05-16T09:04:44.166" v="2255"/>
          <ac:spMkLst>
            <pc:docMk/>
            <pc:sldMk cId="307993181" sldId="2982"/>
            <ac:spMk id="4" creationId="{4751314A-3C88-43D1-ABBC-B774A7615200}"/>
          </ac:spMkLst>
        </pc:spChg>
        <pc:spChg chg="mod">
          <ac:chgData name="Michael Tull" userId="9b84a4a9-44d8-4d28-b1a8-900a431bc43d" providerId="ADAL" clId="{A04BA11E-879C-4F61-84D5-446AB79F79BC}" dt="2022-05-16T09:14:55.145" v="2885" actId="6549"/>
          <ac:spMkLst>
            <pc:docMk/>
            <pc:sldMk cId="307993181" sldId="2982"/>
            <ac:spMk id="5" creationId="{10280B09-E776-4F42-AC0D-1BBE873C4D2E}"/>
          </ac:spMkLst>
        </pc:spChg>
        <pc:spChg chg="add mod">
          <ac:chgData name="Michael Tull" userId="9b84a4a9-44d8-4d28-b1a8-900a431bc43d" providerId="ADAL" clId="{A04BA11E-879C-4F61-84D5-446AB79F79BC}" dt="2022-05-16T09:14:08.792" v="2575" actId="14100"/>
          <ac:spMkLst>
            <pc:docMk/>
            <pc:sldMk cId="307993181" sldId="2982"/>
            <ac:spMk id="11" creationId="{ADE959C8-BAA6-48F0-A77F-B0BD25F9AACA}"/>
          </ac:spMkLst>
        </pc:spChg>
        <pc:graphicFrameChg chg="mod">
          <ac:chgData name="Michael Tull" userId="9b84a4a9-44d8-4d28-b1a8-900a431bc43d" providerId="ADAL" clId="{A04BA11E-879C-4F61-84D5-446AB79F79BC}" dt="2022-05-13T12:18:34.735" v="691"/>
          <ac:graphicFrameMkLst>
            <pc:docMk/>
            <pc:sldMk cId="307993181" sldId="2982"/>
            <ac:graphicFrameMk id="10" creationId="{1B77FD2F-7135-42DF-8B37-2E7CCBD14BC7}"/>
          </ac:graphicFrameMkLst>
        </pc:graphicFrameChg>
        <pc:cxnChg chg="add mod">
          <ac:chgData name="Michael Tull" userId="9b84a4a9-44d8-4d28-b1a8-900a431bc43d" providerId="ADAL" clId="{A04BA11E-879C-4F61-84D5-446AB79F79BC}" dt="2022-05-16T09:13:44.800" v="2568" actId="1038"/>
          <ac:cxnSpMkLst>
            <pc:docMk/>
            <pc:sldMk cId="307993181" sldId="2982"/>
            <ac:cxnSpMk id="7" creationId="{C034327B-7411-48C4-94CC-8B2860442667}"/>
          </ac:cxnSpMkLst>
        </pc:cxnChg>
      </pc:sldChg>
      <pc:sldChg chg="addSp delSp modSp new del mod modClrScheme chgLayout">
        <pc:chgData name="Michael Tull" userId="9b84a4a9-44d8-4d28-b1a8-900a431bc43d" providerId="ADAL" clId="{A04BA11E-879C-4F61-84D5-446AB79F79BC}" dt="2022-05-13T11:36:07.131" v="459" actId="47"/>
        <pc:sldMkLst>
          <pc:docMk/>
          <pc:sldMk cId="3317700379" sldId="2983"/>
        </pc:sldMkLst>
        <pc:spChg chg="del mod ord">
          <ac:chgData name="Michael Tull" userId="9b84a4a9-44d8-4d28-b1a8-900a431bc43d" providerId="ADAL" clId="{A04BA11E-879C-4F61-84D5-446AB79F79BC}" dt="2022-05-13T11:30:27.620" v="283" actId="700"/>
          <ac:spMkLst>
            <pc:docMk/>
            <pc:sldMk cId="3317700379" sldId="2983"/>
            <ac:spMk id="2" creationId="{CB6D02E2-1091-4CA2-8DB1-7414D325CD26}"/>
          </ac:spMkLst>
        </pc:spChg>
        <pc:spChg chg="del mod ord">
          <ac:chgData name="Michael Tull" userId="9b84a4a9-44d8-4d28-b1a8-900a431bc43d" providerId="ADAL" clId="{A04BA11E-879C-4F61-84D5-446AB79F79BC}" dt="2022-05-13T11:30:27.620" v="283" actId="700"/>
          <ac:spMkLst>
            <pc:docMk/>
            <pc:sldMk cId="3317700379" sldId="2983"/>
            <ac:spMk id="3" creationId="{CE2F4CCA-CD0E-4D41-BC26-3426B0AC9138}"/>
          </ac:spMkLst>
        </pc:spChg>
        <pc:spChg chg="add mod ord">
          <ac:chgData name="Michael Tull" userId="9b84a4a9-44d8-4d28-b1a8-900a431bc43d" providerId="ADAL" clId="{A04BA11E-879C-4F61-84D5-446AB79F79BC}" dt="2022-05-13T11:31:17.986" v="387" actId="20577"/>
          <ac:spMkLst>
            <pc:docMk/>
            <pc:sldMk cId="3317700379" sldId="2983"/>
            <ac:spMk id="4" creationId="{CF05DF80-456F-4335-B815-7ADB6B82B3FA}"/>
          </ac:spMkLst>
        </pc:spChg>
        <pc:spChg chg="add del mod ord">
          <ac:chgData name="Michael Tull" userId="9b84a4a9-44d8-4d28-b1a8-900a431bc43d" providerId="ADAL" clId="{A04BA11E-879C-4F61-84D5-446AB79F79BC}" dt="2022-05-13T11:30:30.249" v="284" actId="478"/>
          <ac:spMkLst>
            <pc:docMk/>
            <pc:sldMk cId="3317700379" sldId="2983"/>
            <ac:spMk id="5" creationId="{DCADA162-1ADD-4049-97E4-D384714BC021}"/>
          </ac:spMkLst>
        </pc:spChg>
        <pc:spChg chg="add mod ord">
          <ac:chgData name="Michael Tull" userId="9b84a4a9-44d8-4d28-b1a8-900a431bc43d" providerId="ADAL" clId="{A04BA11E-879C-4F61-84D5-446AB79F79BC}" dt="2022-05-13T11:32:47.425" v="423" actId="20577"/>
          <ac:spMkLst>
            <pc:docMk/>
            <pc:sldMk cId="3317700379" sldId="2983"/>
            <ac:spMk id="6" creationId="{1C5BB38F-273F-4211-969C-532DA5CB9D2D}"/>
          </ac:spMkLst>
        </pc:spChg>
        <pc:spChg chg="add mod ord">
          <ac:chgData name="Michael Tull" userId="9b84a4a9-44d8-4d28-b1a8-900a431bc43d" providerId="ADAL" clId="{A04BA11E-879C-4F61-84D5-446AB79F79BC}" dt="2022-05-13T11:30:27.620" v="283" actId="700"/>
          <ac:spMkLst>
            <pc:docMk/>
            <pc:sldMk cId="3317700379" sldId="2983"/>
            <ac:spMk id="7" creationId="{C73F0226-F68D-4C75-B778-6B1BB8BDFDA2}"/>
          </ac:spMkLst>
        </pc:spChg>
        <pc:spChg chg="add del mod ord">
          <ac:chgData name="Michael Tull" userId="9b84a4a9-44d8-4d28-b1a8-900a431bc43d" providerId="ADAL" clId="{A04BA11E-879C-4F61-84D5-446AB79F79BC}" dt="2022-05-13T11:30:30.249" v="284" actId="478"/>
          <ac:spMkLst>
            <pc:docMk/>
            <pc:sldMk cId="3317700379" sldId="2983"/>
            <ac:spMk id="8" creationId="{C15716AA-E7FB-4FBD-92B8-E2E739754D3F}"/>
          </ac:spMkLst>
        </pc:spChg>
        <pc:spChg chg="add del mod ord">
          <ac:chgData name="Michael Tull" userId="9b84a4a9-44d8-4d28-b1a8-900a431bc43d" providerId="ADAL" clId="{A04BA11E-879C-4F61-84D5-446AB79F79BC}" dt="2022-05-13T11:30:30.249" v="284" actId="478"/>
          <ac:spMkLst>
            <pc:docMk/>
            <pc:sldMk cId="3317700379" sldId="2983"/>
            <ac:spMk id="9" creationId="{496574F6-F7F9-4043-B409-843031EA5CD4}"/>
          </ac:spMkLst>
        </pc:spChg>
        <pc:graphicFrameChg chg="add mod">
          <ac:chgData name="Michael Tull" userId="9b84a4a9-44d8-4d28-b1a8-900a431bc43d" providerId="ADAL" clId="{A04BA11E-879C-4F61-84D5-446AB79F79BC}" dt="2022-05-13T11:30:39.630" v="293"/>
          <ac:graphicFrameMkLst>
            <pc:docMk/>
            <pc:sldMk cId="3317700379" sldId="2983"/>
            <ac:graphicFrameMk id="10" creationId="{6D4B5B7A-0531-4A20-A891-23264D760F5E}"/>
          </ac:graphicFrameMkLst>
        </pc:graphicFrameChg>
        <pc:graphicFrameChg chg="add mod">
          <ac:chgData name="Michael Tull" userId="9b84a4a9-44d8-4d28-b1a8-900a431bc43d" providerId="ADAL" clId="{A04BA11E-879C-4F61-84D5-446AB79F79BC}" dt="2022-05-13T11:32:55.425" v="425" actId="207"/>
          <ac:graphicFrameMkLst>
            <pc:docMk/>
            <pc:sldMk cId="3317700379" sldId="2983"/>
            <ac:graphicFrameMk id="11" creationId="{6D4B5B7A-0531-4A20-A891-23264D760F5E}"/>
          </ac:graphicFrameMkLst>
        </pc:graphicFrameChg>
      </pc:sldChg>
      <pc:sldChg chg="addSp delSp modSp new mod">
        <pc:chgData name="Michael Tull" userId="9b84a4a9-44d8-4d28-b1a8-900a431bc43d" providerId="ADAL" clId="{A04BA11E-879C-4F61-84D5-446AB79F79BC}" dt="2022-05-16T09:04:44.166" v="2255"/>
        <pc:sldMkLst>
          <pc:docMk/>
          <pc:sldMk cId="2404195746" sldId="2984"/>
        </pc:sldMkLst>
        <pc:spChg chg="mod">
          <ac:chgData name="Michael Tull" userId="9b84a4a9-44d8-4d28-b1a8-900a431bc43d" providerId="ADAL" clId="{A04BA11E-879C-4F61-84D5-446AB79F79BC}" dt="2022-05-16T09:04:44.166" v="2255"/>
          <ac:spMkLst>
            <pc:docMk/>
            <pc:sldMk cId="2404195746" sldId="2984"/>
            <ac:spMk id="2" creationId="{96A51571-C0DE-4FDB-A1CC-326098BB9FBD}"/>
          </ac:spMkLst>
        </pc:spChg>
        <pc:spChg chg="del">
          <ac:chgData name="Michael Tull" userId="9b84a4a9-44d8-4d28-b1a8-900a431bc43d" providerId="ADAL" clId="{A04BA11E-879C-4F61-84D5-446AB79F79BC}" dt="2022-05-13T11:33:16.047" v="427" actId="478"/>
          <ac:spMkLst>
            <pc:docMk/>
            <pc:sldMk cId="2404195746" sldId="2984"/>
            <ac:spMk id="3" creationId="{5FE4B16F-2B9A-4E3E-9647-5802CF31A127}"/>
          </ac:spMkLst>
        </pc:spChg>
        <pc:spChg chg="del">
          <ac:chgData name="Michael Tull" userId="9b84a4a9-44d8-4d28-b1a8-900a431bc43d" providerId="ADAL" clId="{A04BA11E-879C-4F61-84D5-446AB79F79BC}" dt="2022-05-13T11:33:16.047" v="427" actId="478"/>
          <ac:spMkLst>
            <pc:docMk/>
            <pc:sldMk cId="2404195746" sldId="2984"/>
            <ac:spMk id="4" creationId="{828B5ACB-D631-496F-AC88-C4147D886E3F}"/>
          </ac:spMkLst>
        </pc:spChg>
        <pc:spChg chg="del">
          <ac:chgData name="Michael Tull" userId="9b84a4a9-44d8-4d28-b1a8-900a431bc43d" providerId="ADAL" clId="{A04BA11E-879C-4F61-84D5-446AB79F79BC}" dt="2022-05-13T11:33:16.047" v="427" actId="478"/>
          <ac:spMkLst>
            <pc:docMk/>
            <pc:sldMk cId="2404195746" sldId="2984"/>
            <ac:spMk id="5" creationId="{4CC1D27A-048B-413C-9969-3FB34C2C0C4A}"/>
          </ac:spMkLst>
        </pc:spChg>
        <pc:spChg chg="mod">
          <ac:chgData name="Michael Tull" userId="9b84a4a9-44d8-4d28-b1a8-900a431bc43d" providerId="ADAL" clId="{A04BA11E-879C-4F61-84D5-446AB79F79BC}" dt="2022-05-13T11:36:34.452" v="530" actId="14100"/>
          <ac:spMkLst>
            <pc:docMk/>
            <pc:sldMk cId="2404195746" sldId="2984"/>
            <ac:spMk id="6" creationId="{F36790E0-EBFC-40BE-8508-58CDC0E64BC6}"/>
          </ac:spMkLst>
        </pc:spChg>
        <pc:spChg chg="mod">
          <ac:chgData name="Michael Tull" userId="9b84a4a9-44d8-4d28-b1a8-900a431bc43d" providerId="ADAL" clId="{A04BA11E-879C-4F61-84D5-446AB79F79BC}" dt="2022-05-16T09:04:44.166" v="2255"/>
          <ac:spMkLst>
            <pc:docMk/>
            <pc:sldMk cId="2404195746" sldId="2984"/>
            <ac:spMk id="7" creationId="{79BAEE9A-8582-4060-A7F7-D345E5E5E43C}"/>
          </ac:spMkLst>
        </pc:spChg>
        <pc:graphicFrameChg chg="add mod">
          <ac:chgData name="Michael Tull" userId="9b84a4a9-44d8-4d28-b1a8-900a431bc43d" providerId="ADAL" clId="{A04BA11E-879C-4F61-84D5-446AB79F79BC}" dt="2022-05-16T08:54:47.970" v="2027" actId="404"/>
          <ac:graphicFrameMkLst>
            <pc:docMk/>
            <pc:sldMk cId="2404195746" sldId="2984"/>
            <ac:graphicFrameMk id="10" creationId="{3655F09D-B14A-4355-B799-114E17716491}"/>
          </ac:graphicFrameMkLst>
        </pc:graphicFrameChg>
      </pc:sldChg>
      <pc:sldChg chg="add del">
        <pc:chgData name="Michael Tull" userId="9b84a4a9-44d8-4d28-b1a8-900a431bc43d" providerId="ADAL" clId="{A04BA11E-879C-4F61-84D5-446AB79F79BC}" dt="2022-05-13T12:35:22.848" v="1231" actId="47"/>
        <pc:sldMkLst>
          <pc:docMk/>
          <pc:sldMk cId="2050722049" sldId="5031"/>
        </pc:sldMkLst>
      </pc:sldChg>
      <pc:sldChg chg="addSp delSp modSp new del mod modClrScheme chgLayout">
        <pc:chgData name="Michael Tull" userId="9b84a4a9-44d8-4d28-b1a8-900a431bc43d" providerId="ADAL" clId="{A04BA11E-879C-4F61-84D5-446AB79F79BC}" dt="2022-05-16T09:10:12.120" v="2539" actId="47"/>
        <pc:sldMkLst>
          <pc:docMk/>
          <pc:sldMk cId="164486728" sldId="5032"/>
        </pc:sldMkLst>
        <pc:spChg chg="del mod ord">
          <ac:chgData name="Michael Tull" userId="9b84a4a9-44d8-4d28-b1a8-900a431bc43d" providerId="ADAL" clId="{A04BA11E-879C-4F61-84D5-446AB79F79BC}" dt="2022-05-13T12:25:38.820" v="888" actId="700"/>
          <ac:spMkLst>
            <pc:docMk/>
            <pc:sldMk cId="164486728" sldId="5032"/>
            <ac:spMk id="2" creationId="{EA62FEC0-1F84-469A-8BBA-4C71A6F49235}"/>
          </ac:spMkLst>
        </pc:spChg>
        <pc:spChg chg="del mod ord">
          <ac:chgData name="Michael Tull" userId="9b84a4a9-44d8-4d28-b1a8-900a431bc43d" providerId="ADAL" clId="{A04BA11E-879C-4F61-84D5-446AB79F79BC}" dt="2022-05-13T12:25:38.820" v="888" actId="700"/>
          <ac:spMkLst>
            <pc:docMk/>
            <pc:sldMk cId="164486728" sldId="5032"/>
            <ac:spMk id="3" creationId="{38C4411A-7CD0-49E0-84F4-B45D938F8791}"/>
          </ac:spMkLst>
        </pc:spChg>
        <pc:spChg chg="del mod ord">
          <ac:chgData name="Michael Tull" userId="9b84a4a9-44d8-4d28-b1a8-900a431bc43d" providerId="ADAL" clId="{A04BA11E-879C-4F61-84D5-446AB79F79BC}" dt="2022-05-13T12:25:38.820" v="888" actId="700"/>
          <ac:spMkLst>
            <pc:docMk/>
            <pc:sldMk cId="164486728" sldId="5032"/>
            <ac:spMk id="4" creationId="{37925832-29DE-4FEC-ADB2-7DF9E1E570E2}"/>
          </ac:spMkLst>
        </pc:spChg>
        <pc:spChg chg="del mod ord">
          <ac:chgData name="Michael Tull" userId="9b84a4a9-44d8-4d28-b1a8-900a431bc43d" providerId="ADAL" clId="{A04BA11E-879C-4F61-84D5-446AB79F79BC}" dt="2022-05-13T12:25:38.820" v="888" actId="700"/>
          <ac:spMkLst>
            <pc:docMk/>
            <pc:sldMk cId="164486728" sldId="5032"/>
            <ac:spMk id="5" creationId="{56526A9C-8408-482B-972B-A1FF4F8D8D8A}"/>
          </ac:spMkLst>
        </pc:spChg>
        <pc:spChg chg="del mod ord">
          <ac:chgData name="Michael Tull" userId="9b84a4a9-44d8-4d28-b1a8-900a431bc43d" providerId="ADAL" clId="{A04BA11E-879C-4F61-84D5-446AB79F79BC}" dt="2022-05-13T12:25:38.820" v="888" actId="700"/>
          <ac:spMkLst>
            <pc:docMk/>
            <pc:sldMk cId="164486728" sldId="5032"/>
            <ac:spMk id="6" creationId="{68AD0733-8522-4496-BDEE-05F4AFB38192}"/>
          </ac:spMkLst>
        </pc:spChg>
        <pc:spChg chg="del mod ord">
          <ac:chgData name="Michael Tull" userId="9b84a4a9-44d8-4d28-b1a8-900a431bc43d" providerId="ADAL" clId="{A04BA11E-879C-4F61-84D5-446AB79F79BC}" dt="2022-05-13T12:25:38.820" v="888" actId="700"/>
          <ac:spMkLst>
            <pc:docMk/>
            <pc:sldMk cId="164486728" sldId="5032"/>
            <ac:spMk id="7" creationId="{DAF48295-7D47-49A8-9244-73AD920EE58A}"/>
          </ac:spMkLst>
        </pc:spChg>
        <pc:spChg chg="add mod ord">
          <ac:chgData name="Michael Tull" userId="9b84a4a9-44d8-4d28-b1a8-900a431bc43d" providerId="ADAL" clId="{A04BA11E-879C-4F61-84D5-446AB79F79BC}" dt="2022-05-16T09:04:48.637" v="2298"/>
          <ac:spMkLst>
            <pc:docMk/>
            <pc:sldMk cId="164486728" sldId="5032"/>
            <ac:spMk id="8" creationId="{65EDDDFE-3B7E-4B5C-A03C-8C3AC9398F4B}"/>
          </ac:spMkLst>
        </pc:spChg>
        <pc:spChg chg="add del mod ord">
          <ac:chgData name="Michael Tull" userId="9b84a4a9-44d8-4d28-b1a8-900a431bc43d" providerId="ADAL" clId="{A04BA11E-879C-4F61-84D5-446AB79F79BC}" dt="2022-05-13T12:35:18.569" v="1229" actId="478"/>
          <ac:spMkLst>
            <pc:docMk/>
            <pc:sldMk cId="164486728" sldId="5032"/>
            <ac:spMk id="9" creationId="{1443F25D-2DF2-486B-9B1F-8BBB07634391}"/>
          </ac:spMkLst>
        </pc:spChg>
        <pc:spChg chg="add mod ord">
          <ac:chgData name="Michael Tull" userId="9b84a4a9-44d8-4d28-b1a8-900a431bc43d" providerId="ADAL" clId="{A04BA11E-879C-4F61-84D5-446AB79F79BC}" dt="2022-05-16T08:55:28.108" v="2159" actId="14100"/>
          <ac:spMkLst>
            <pc:docMk/>
            <pc:sldMk cId="164486728" sldId="5032"/>
            <ac:spMk id="10" creationId="{420197BF-0559-47F1-A127-D4997E370205}"/>
          </ac:spMkLst>
        </pc:spChg>
        <pc:spChg chg="add del mod ord">
          <ac:chgData name="Michael Tull" userId="9b84a4a9-44d8-4d28-b1a8-900a431bc43d" providerId="ADAL" clId="{A04BA11E-879C-4F61-84D5-446AB79F79BC}" dt="2022-05-13T12:32:29.775" v="1177" actId="931"/>
          <ac:spMkLst>
            <pc:docMk/>
            <pc:sldMk cId="164486728" sldId="5032"/>
            <ac:spMk id="11" creationId="{2602ED36-C9FB-4BFB-85B3-AC4536968D1F}"/>
          </ac:spMkLst>
        </pc:spChg>
        <pc:spChg chg="add del mod ord">
          <ac:chgData name="Michael Tull" userId="9b84a4a9-44d8-4d28-b1a8-900a431bc43d" providerId="ADAL" clId="{A04BA11E-879C-4F61-84D5-446AB79F79BC}" dt="2022-05-13T12:29:56.062" v="1168" actId="931"/>
          <ac:spMkLst>
            <pc:docMk/>
            <pc:sldMk cId="164486728" sldId="5032"/>
            <ac:spMk id="12" creationId="{7AD82818-C8D4-46D9-B4C3-39729EDC94D9}"/>
          </ac:spMkLst>
        </pc:spChg>
        <pc:spChg chg="add del mod ord">
          <ac:chgData name="Michael Tull" userId="9b84a4a9-44d8-4d28-b1a8-900a431bc43d" providerId="ADAL" clId="{A04BA11E-879C-4F61-84D5-446AB79F79BC}" dt="2022-05-13T12:33:52.770" v="1208" actId="931"/>
          <ac:spMkLst>
            <pc:docMk/>
            <pc:sldMk cId="164486728" sldId="5032"/>
            <ac:spMk id="13" creationId="{651B231F-8D72-4DC1-9E5C-10B469580D14}"/>
          </ac:spMkLst>
        </pc:spChg>
        <pc:spChg chg="add del mod ord">
          <ac:chgData name="Michael Tull" userId="9b84a4a9-44d8-4d28-b1a8-900a431bc43d" providerId="ADAL" clId="{A04BA11E-879C-4F61-84D5-446AB79F79BC}" dt="2022-05-13T12:32:34.186" v="1180" actId="931"/>
          <ac:spMkLst>
            <pc:docMk/>
            <pc:sldMk cId="164486728" sldId="5032"/>
            <ac:spMk id="14" creationId="{154B197A-FD69-4A5E-A83D-25B6A0D0C4F0}"/>
          </ac:spMkLst>
        </pc:spChg>
        <pc:spChg chg="add mod ord">
          <ac:chgData name="Michael Tull" userId="9b84a4a9-44d8-4d28-b1a8-900a431bc43d" providerId="ADAL" clId="{A04BA11E-879C-4F61-84D5-446AB79F79BC}" dt="2022-05-16T09:04:48.637" v="2298"/>
          <ac:spMkLst>
            <pc:docMk/>
            <pc:sldMk cId="164486728" sldId="5032"/>
            <ac:spMk id="15" creationId="{12E8CD1A-CFB6-49C9-8C42-BFA2A7A36F8A}"/>
          </ac:spMkLst>
        </pc:spChg>
        <pc:spChg chg="add del mod ord">
          <ac:chgData name="Michael Tull" userId="9b84a4a9-44d8-4d28-b1a8-900a431bc43d" providerId="ADAL" clId="{A04BA11E-879C-4F61-84D5-446AB79F79BC}" dt="2022-05-13T12:32:36.625" v="1181" actId="931"/>
          <ac:spMkLst>
            <pc:docMk/>
            <pc:sldMk cId="164486728" sldId="5032"/>
            <ac:spMk id="16" creationId="{A7B8ACFC-7898-408B-A540-E7CD7F1A18E4}"/>
          </ac:spMkLst>
        </pc:spChg>
        <pc:spChg chg="add del mod ord">
          <ac:chgData name="Michael Tull" userId="9b84a4a9-44d8-4d28-b1a8-900a431bc43d" providerId="ADAL" clId="{A04BA11E-879C-4F61-84D5-446AB79F79BC}" dt="2022-05-13T12:32:40.094" v="1186" actId="931"/>
          <ac:spMkLst>
            <pc:docMk/>
            <pc:sldMk cId="164486728" sldId="5032"/>
            <ac:spMk id="17" creationId="{52C0B118-4E01-496B-B119-46104944ABBE}"/>
          </ac:spMkLst>
        </pc:spChg>
        <pc:spChg chg="add del mod ord">
          <ac:chgData name="Michael Tull" userId="9b84a4a9-44d8-4d28-b1a8-900a431bc43d" providerId="ADAL" clId="{A04BA11E-879C-4F61-84D5-446AB79F79BC}" dt="2022-05-13T12:32:42.075" v="1187" actId="931"/>
          <ac:spMkLst>
            <pc:docMk/>
            <pc:sldMk cId="164486728" sldId="5032"/>
            <ac:spMk id="18" creationId="{9D3FFA02-1F69-4AF8-9E98-6B357F825C8C}"/>
          </ac:spMkLst>
        </pc:spChg>
        <pc:spChg chg="add del mod ord">
          <ac:chgData name="Michael Tull" userId="9b84a4a9-44d8-4d28-b1a8-900a431bc43d" providerId="ADAL" clId="{A04BA11E-879C-4F61-84D5-446AB79F79BC}" dt="2022-05-13T12:32:44.597" v="1190" actId="931"/>
          <ac:spMkLst>
            <pc:docMk/>
            <pc:sldMk cId="164486728" sldId="5032"/>
            <ac:spMk id="19" creationId="{2FB5D1CE-57E5-480E-A0E5-3EC7E94C5118}"/>
          </ac:spMkLst>
        </pc:spChg>
        <pc:spChg chg="add del mod ord">
          <ac:chgData name="Michael Tull" userId="9b84a4a9-44d8-4d28-b1a8-900a431bc43d" providerId="ADAL" clId="{A04BA11E-879C-4F61-84D5-446AB79F79BC}" dt="2022-05-13T12:29:11.736" v="1167"/>
          <ac:spMkLst>
            <pc:docMk/>
            <pc:sldMk cId="164486728" sldId="5032"/>
            <ac:spMk id="20" creationId="{C8BFDF8F-58EF-4F5B-8E7D-BBA18322B453}"/>
          </ac:spMkLst>
        </pc:spChg>
        <pc:spChg chg="add del mod ord">
          <ac:chgData name="Michael Tull" userId="9b84a4a9-44d8-4d28-b1a8-900a431bc43d" providerId="ADAL" clId="{A04BA11E-879C-4F61-84D5-446AB79F79BC}" dt="2022-05-13T12:32:47.212" v="1193" actId="931"/>
          <ac:spMkLst>
            <pc:docMk/>
            <pc:sldMk cId="164486728" sldId="5032"/>
            <ac:spMk id="21" creationId="{1AA78B70-DF7E-47D7-B0E3-CDA490AFB476}"/>
          </ac:spMkLst>
        </pc:spChg>
        <pc:spChg chg="add mod ord">
          <ac:chgData name="Michael Tull" userId="9b84a4a9-44d8-4d28-b1a8-900a431bc43d" providerId="ADAL" clId="{A04BA11E-879C-4F61-84D5-446AB79F79BC}" dt="2022-05-16T09:04:48.637" v="2298"/>
          <ac:spMkLst>
            <pc:docMk/>
            <pc:sldMk cId="164486728" sldId="5032"/>
            <ac:spMk id="22" creationId="{7187BF24-7962-4290-BEF0-0517D60A6AAB}"/>
          </ac:spMkLst>
        </pc:spChg>
        <pc:spChg chg="add mod ord">
          <ac:chgData name="Michael Tull" userId="9b84a4a9-44d8-4d28-b1a8-900a431bc43d" providerId="ADAL" clId="{A04BA11E-879C-4F61-84D5-446AB79F79BC}" dt="2022-05-16T09:04:48.637" v="2298"/>
          <ac:spMkLst>
            <pc:docMk/>
            <pc:sldMk cId="164486728" sldId="5032"/>
            <ac:spMk id="23" creationId="{DD719BEB-223E-4BD4-A536-1C0715F8A856}"/>
          </ac:spMkLst>
        </pc:spChg>
        <pc:spChg chg="add mod ord">
          <ac:chgData name="Michael Tull" userId="9b84a4a9-44d8-4d28-b1a8-900a431bc43d" providerId="ADAL" clId="{A04BA11E-879C-4F61-84D5-446AB79F79BC}" dt="2022-05-16T09:04:48.637" v="2298"/>
          <ac:spMkLst>
            <pc:docMk/>
            <pc:sldMk cId="164486728" sldId="5032"/>
            <ac:spMk id="24" creationId="{96ED8F24-2B66-431D-890A-271AC2BAF38E}"/>
          </ac:spMkLst>
        </pc:spChg>
        <pc:spChg chg="add mod ord">
          <ac:chgData name="Michael Tull" userId="9b84a4a9-44d8-4d28-b1a8-900a431bc43d" providerId="ADAL" clId="{A04BA11E-879C-4F61-84D5-446AB79F79BC}" dt="2022-05-16T09:04:48.637" v="2298"/>
          <ac:spMkLst>
            <pc:docMk/>
            <pc:sldMk cId="164486728" sldId="5032"/>
            <ac:spMk id="25" creationId="{10B47A4F-3605-46C2-B271-3D64F23055BF}"/>
          </ac:spMkLst>
        </pc:spChg>
        <pc:spChg chg="add mod ord">
          <ac:chgData name="Michael Tull" userId="9b84a4a9-44d8-4d28-b1a8-900a431bc43d" providerId="ADAL" clId="{A04BA11E-879C-4F61-84D5-446AB79F79BC}" dt="2022-05-16T09:04:48.637" v="2298"/>
          <ac:spMkLst>
            <pc:docMk/>
            <pc:sldMk cId="164486728" sldId="5032"/>
            <ac:spMk id="26" creationId="{AA665DF5-188A-4401-8384-A290D173B6EF}"/>
          </ac:spMkLst>
        </pc:spChg>
        <pc:spChg chg="add mod ord">
          <ac:chgData name="Michael Tull" userId="9b84a4a9-44d8-4d28-b1a8-900a431bc43d" providerId="ADAL" clId="{A04BA11E-879C-4F61-84D5-446AB79F79BC}" dt="2022-05-16T09:04:48.637" v="2298"/>
          <ac:spMkLst>
            <pc:docMk/>
            <pc:sldMk cId="164486728" sldId="5032"/>
            <ac:spMk id="27" creationId="{E7A0CA50-BB63-4805-A1E3-C105E08D56EE}"/>
          </ac:spMkLst>
        </pc:spChg>
        <pc:spChg chg="add mod ord">
          <ac:chgData name="Michael Tull" userId="9b84a4a9-44d8-4d28-b1a8-900a431bc43d" providerId="ADAL" clId="{A04BA11E-879C-4F61-84D5-446AB79F79BC}" dt="2022-05-16T09:04:48.637" v="2298"/>
          <ac:spMkLst>
            <pc:docMk/>
            <pc:sldMk cId="164486728" sldId="5032"/>
            <ac:spMk id="28" creationId="{22200F6E-A508-4BB4-AEE6-2A753210B8C9}"/>
          </ac:spMkLst>
        </pc:spChg>
        <pc:spChg chg="add mod ord">
          <ac:chgData name="Michael Tull" userId="9b84a4a9-44d8-4d28-b1a8-900a431bc43d" providerId="ADAL" clId="{A04BA11E-879C-4F61-84D5-446AB79F79BC}" dt="2022-05-16T09:04:48.637" v="2298"/>
          <ac:spMkLst>
            <pc:docMk/>
            <pc:sldMk cId="164486728" sldId="5032"/>
            <ac:spMk id="29" creationId="{D0F63C69-34F6-4A90-9F4E-8A9325D4B22E}"/>
          </ac:spMkLst>
        </pc:spChg>
        <pc:spChg chg="add mod ord">
          <ac:chgData name="Michael Tull" userId="9b84a4a9-44d8-4d28-b1a8-900a431bc43d" providerId="ADAL" clId="{A04BA11E-879C-4F61-84D5-446AB79F79BC}" dt="2022-05-16T09:04:48.637" v="2298"/>
          <ac:spMkLst>
            <pc:docMk/>
            <pc:sldMk cId="164486728" sldId="5032"/>
            <ac:spMk id="30" creationId="{F94D7A44-FC38-4C1C-BBF7-DC241B0E3BE7}"/>
          </ac:spMkLst>
        </pc:spChg>
        <pc:spChg chg="add mod ord">
          <ac:chgData name="Michael Tull" userId="9b84a4a9-44d8-4d28-b1a8-900a431bc43d" providerId="ADAL" clId="{A04BA11E-879C-4F61-84D5-446AB79F79BC}" dt="2022-05-13T12:35:14.644" v="1228" actId="34135"/>
          <ac:spMkLst>
            <pc:docMk/>
            <pc:sldMk cId="164486728" sldId="5032"/>
            <ac:spMk id="50" creationId="{3DA7EA81-17B0-4B2C-A55B-0060CFED6AC7}"/>
          </ac:spMkLst>
        </pc:spChg>
        <pc:picChg chg="add mod">
          <ac:chgData name="Michael Tull" userId="9b84a4a9-44d8-4d28-b1a8-900a431bc43d" providerId="ADAL" clId="{A04BA11E-879C-4F61-84D5-446AB79F79BC}" dt="2022-05-16T09:04:48.637" v="2298"/>
          <ac:picMkLst>
            <pc:docMk/>
            <pc:sldMk cId="164486728" sldId="5032"/>
            <ac:picMk id="31" creationId="{AF2258D9-9B5F-4CE8-94EB-73FB2EA006AF}"/>
          </ac:picMkLst>
        </pc:picChg>
        <pc:picChg chg="add mod">
          <ac:chgData name="Michael Tull" userId="9b84a4a9-44d8-4d28-b1a8-900a431bc43d" providerId="ADAL" clId="{A04BA11E-879C-4F61-84D5-446AB79F79BC}" dt="2022-05-16T09:04:48.637" v="2298"/>
          <ac:picMkLst>
            <pc:docMk/>
            <pc:sldMk cId="164486728" sldId="5032"/>
            <ac:picMk id="33" creationId="{38A1EC2D-C0B4-40DF-9619-AAC5D7CD12C4}"/>
          </ac:picMkLst>
        </pc:picChg>
        <pc:picChg chg="add mod">
          <ac:chgData name="Michael Tull" userId="9b84a4a9-44d8-4d28-b1a8-900a431bc43d" providerId="ADAL" clId="{A04BA11E-879C-4F61-84D5-446AB79F79BC}" dt="2022-05-16T09:04:48.637" v="2298"/>
          <ac:picMkLst>
            <pc:docMk/>
            <pc:sldMk cId="164486728" sldId="5032"/>
            <ac:picMk id="35" creationId="{3BFFB0A9-77B1-41FD-9DF5-28ECA1616BC9}"/>
          </ac:picMkLst>
        </pc:picChg>
        <pc:picChg chg="add mod modCrop">
          <ac:chgData name="Michael Tull" userId="9b84a4a9-44d8-4d28-b1a8-900a431bc43d" providerId="ADAL" clId="{A04BA11E-879C-4F61-84D5-446AB79F79BC}" dt="2022-05-16T09:04:48.637" v="2298"/>
          <ac:picMkLst>
            <pc:docMk/>
            <pc:sldMk cId="164486728" sldId="5032"/>
            <ac:picMk id="37" creationId="{96227183-52E9-477A-A562-C864867FE9DC}"/>
          </ac:picMkLst>
        </pc:picChg>
        <pc:picChg chg="add mod modCrop">
          <ac:chgData name="Michael Tull" userId="9b84a4a9-44d8-4d28-b1a8-900a431bc43d" providerId="ADAL" clId="{A04BA11E-879C-4F61-84D5-446AB79F79BC}" dt="2022-05-16T09:04:48.637" v="2298"/>
          <ac:picMkLst>
            <pc:docMk/>
            <pc:sldMk cId="164486728" sldId="5032"/>
            <ac:picMk id="39" creationId="{B3A3A128-347F-4B1B-937C-B0B7F1F701C6}"/>
          </ac:picMkLst>
        </pc:picChg>
        <pc:picChg chg="add mod">
          <ac:chgData name="Michael Tull" userId="9b84a4a9-44d8-4d28-b1a8-900a431bc43d" providerId="ADAL" clId="{A04BA11E-879C-4F61-84D5-446AB79F79BC}" dt="2022-05-16T09:04:48.637" v="2298"/>
          <ac:picMkLst>
            <pc:docMk/>
            <pc:sldMk cId="164486728" sldId="5032"/>
            <ac:picMk id="41" creationId="{0F96B573-3C36-49D3-B9A8-ABD645DEF70F}"/>
          </ac:picMkLst>
        </pc:picChg>
        <pc:picChg chg="add mod modCrop">
          <ac:chgData name="Michael Tull" userId="9b84a4a9-44d8-4d28-b1a8-900a431bc43d" providerId="ADAL" clId="{A04BA11E-879C-4F61-84D5-446AB79F79BC}" dt="2022-05-16T09:04:48.637" v="2298"/>
          <ac:picMkLst>
            <pc:docMk/>
            <pc:sldMk cId="164486728" sldId="5032"/>
            <ac:picMk id="43" creationId="{2FD1782E-C3B3-4F51-8433-4CD2BD08B834}"/>
          </ac:picMkLst>
        </pc:picChg>
        <pc:picChg chg="add mod modCrop">
          <ac:chgData name="Michael Tull" userId="9b84a4a9-44d8-4d28-b1a8-900a431bc43d" providerId="ADAL" clId="{A04BA11E-879C-4F61-84D5-446AB79F79BC}" dt="2022-05-16T09:04:48.637" v="2298"/>
          <ac:picMkLst>
            <pc:docMk/>
            <pc:sldMk cId="164486728" sldId="5032"/>
            <ac:picMk id="45" creationId="{13985C49-541F-4D18-8CB4-506DB81CA795}"/>
          </ac:picMkLst>
        </pc:picChg>
        <pc:picChg chg="add mod">
          <ac:chgData name="Michael Tull" userId="9b84a4a9-44d8-4d28-b1a8-900a431bc43d" providerId="ADAL" clId="{A04BA11E-879C-4F61-84D5-446AB79F79BC}" dt="2022-05-16T09:04:48.637" v="2298"/>
          <ac:picMkLst>
            <pc:docMk/>
            <pc:sldMk cId="164486728" sldId="5032"/>
            <ac:picMk id="47" creationId="{BDDCBEC9-1A77-4ECB-BE8B-EF328E7AE7A6}"/>
          </ac:picMkLst>
        </pc:picChg>
        <pc:picChg chg="add mod ord modCrop">
          <ac:chgData name="Michael Tull" userId="9b84a4a9-44d8-4d28-b1a8-900a431bc43d" providerId="ADAL" clId="{A04BA11E-879C-4F61-84D5-446AB79F79BC}" dt="2022-05-13T12:35:14.644" v="1228" actId="34135"/>
          <ac:picMkLst>
            <pc:docMk/>
            <pc:sldMk cId="164486728" sldId="5032"/>
            <ac:picMk id="49" creationId="{925311E6-B238-4274-9E72-A8FBDDBD1BD3}"/>
          </ac:picMkLst>
        </pc:picChg>
      </pc:sldChg>
      <pc:sldChg chg="add del">
        <pc:chgData name="Michael Tull" userId="9b84a4a9-44d8-4d28-b1a8-900a431bc43d" providerId="ADAL" clId="{A04BA11E-879C-4F61-84D5-446AB79F79BC}" dt="2022-05-16T09:07:10.081" v="2461"/>
        <pc:sldMkLst>
          <pc:docMk/>
          <pc:sldMk cId="2659326228" sldId="5033"/>
        </pc:sldMkLst>
      </pc:sldChg>
      <pc:sldChg chg="addSp delSp modSp add mod ord">
        <pc:chgData name="Michael Tull" userId="9b84a4a9-44d8-4d28-b1a8-900a431bc43d" providerId="ADAL" clId="{A04BA11E-879C-4F61-84D5-446AB79F79BC}" dt="2022-05-16T09:15:34.078" v="2887"/>
        <pc:sldMkLst>
          <pc:docMk/>
          <pc:sldMk cId="3226009768" sldId="5033"/>
        </pc:sldMkLst>
        <pc:spChg chg="mod">
          <ac:chgData name="Michael Tull" userId="9b84a4a9-44d8-4d28-b1a8-900a431bc43d" providerId="ADAL" clId="{A04BA11E-879C-4F61-84D5-446AB79F79BC}" dt="2022-05-16T09:07:58.821" v="2506" actId="1036"/>
          <ac:spMkLst>
            <pc:docMk/>
            <pc:sldMk cId="3226009768" sldId="5033"/>
            <ac:spMk id="2" creationId="{4724269E-A1EF-4522-9422-003793C17C1E}"/>
          </ac:spMkLst>
        </pc:spChg>
        <pc:spChg chg="del">
          <ac:chgData name="Michael Tull" userId="9b84a4a9-44d8-4d28-b1a8-900a431bc43d" providerId="ADAL" clId="{A04BA11E-879C-4F61-84D5-446AB79F79BC}" dt="2022-05-16T09:07:47.085" v="2485" actId="478"/>
          <ac:spMkLst>
            <pc:docMk/>
            <pc:sldMk cId="3226009768" sldId="5033"/>
            <ac:spMk id="3" creationId="{6C2ED83B-54A9-4399-B078-EEFF03FEAE47}"/>
          </ac:spMkLst>
        </pc:spChg>
        <pc:spChg chg="mod">
          <ac:chgData name="Michael Tull" userId="9b84a4a9-44d8-4d28-b1a8-900a431bc43d" providerId="ADAL" clId="{A04BA11E-879C-4F61-84D5-446AB79F79BC}" dt="2022-05-16T09:07:58.821" v="2506" actId="1036"/>
          <ac:spMkLst>
            <pc:docMk/>
            <pc:sldMk cId="3226009768" sldId="5033"/>
            <ac:spMk id="4" creationId="{FDBEEE20-70B7-4DA0-B4B7-376755F67FD0}"/>
          </ac:spMkLst>
        </pc:spChg>
        <pc:spChg chg="del">
          <ac:chgData name="Michael Tull" userId="9b84a4a9-44d8-4d28-b1a8-900a431bc43d" providerId="ADAL" clId="{A04BA11E-879C-4F61-84D5-446AB79F79BC}" dt="2022-05-16T09:07:48.294" v="2486" actId="478"/>
          <ac:spMkLst>
            <pc:docMk/>
            <pc:sldMk cId="3226009768" sldId="5033"/>
            <ac:spMk id="5" creationId="{607AAA7B-C009-4E6A-9340-40B4E492C6EB}"/>
          </ac:spMkLst>
        </pc:spChg>
        <pc:spChg chg="mod">
          <ac:chgData name="Michael Tull" userId="9b84a4a9-44d8-4d28-b1a8-900a431bc43d" providerId="ADAL" clId="{A04BA11E-879C-4F61-84D5-446AB79F79BC}" dt="2022-05-16T09:07:58.821" v="2506" actId="1036"/>
          <ac:spMkLst>
            <pc:docMk/>
            <pc:sldMk cId="3226009768" sldId="5033"/>
            <ac:spMk id="6" creationId="{D5550BAF-093E-4195-BAAD-74C8F88B369F}"/>
          </ac:spMkLst>
        </pc:spChg>
        <pc:spChg chg="del">
          <ac:chgData name="Michael Tull" userId="9b84a4a9-44d8-4d28-b1a8-900a431bc43d" providerId="ADAL" clId="{A04BA11E-879C-4F61-84D5-446AB79F79BC}" dt="2022-05-16T09:07:49.127" v="2487" actId="478"/>
          <ac:spMkLst>
            <pc:docMk/>
            <pc:sldMk cId="3226009768" sldId="5033"/>
            <ac:spMk id="7" creationId="{5DDCE120-0C82-40EB-B52F-EDD708759856}"/>
          </ac:spMkLst>
        </pc:spChg>
        <pc:spChg chg="mod">
          <ac:chgData name="Michael Tull" userId="9b84a4a9-44d8-4d28-b1a8-900a431bc43d" providerId="ADAL" clId="{A04BA11E-879C-4F61-84D5-446AB79F79BC}" dt="2022-05-16T09:07:58.821" v="2506" actId="1036"/>
          <ac:spMkLst>
            <pc:docMk/>
            <pc:sldMk cId="3226009768" sldId="5033"/>
            <ac:spMk id="9" creationId="{96B0E3DF-A6AA-4A11-8ACB-02DDF8637A22}"/>
          </ac:spMkLst>
        </pc:spChg>
        <pc:spChg chg="del">
          <ac:chgData name="Michael Tull" userId="9b84a4a9-44d8-4d28-b1a8-900a431bc43d" providerId="ADAL" clId="{A04BA11E-879C-4F61-84D5-446AB79F79BC}" dt="2022-05-16T09:07:52.753" v="2489" actId="478"/>
          <ac:spMkLst>
            <pc:docMk/>
            <pc:sldMk cId="3226009768" sldId="5033"/>
            <ac:spMk id="10" creationId="{9EB4A4F0-C973-471B-900E-449C6533A419}"/>
          </ac:spMkLst>
        </pc:spChg>
        <pc:spChg chg="del">
          <ac:chgData name="Michael Tull" userId="9b84a4a9-44d8-4d28-b1a8-900a431bc43d" providerId="ADAL" clId="{A04BA11E-879C-4F61-84D5-446AB79F79BC}" dt="2022-05-16T09:07:50.932" v="2488" actId="478"/>
          <ac:spMkLst>
            <pc:docMk/>
            <pc:sldMk cId="3226009768" sldId="5033"/>
            <ac:spMk id="11" creationId="{27D65B29-13CE-4018-BCA3-30E2743712B3}"/>
          </ac:spMkLst>
        </pc:spChg>
        <pc:spChg chg="mod">
          <ac:chgData name="Michael Tull" userId="9b84a4a9-44d8-4d28-b1a8-900a431bc43d" providerId="ADAL" clId="{A04BA11E-879C-4F61-84D5-446AB79F79BC}" dt="2022-05-16T09:07:20.093" v="2465" actId="14100"/>
          <ac:spMkLst>
            <pc:docMk/>
            <pc:sldMk cId="3226009768" sldId="5033"/>
            <ac:spMk id="12" creationId="{855BFE89-245E-4C98-B2C6-09861097BD0C}"/>
          </ac:spMkLst>
        </pc:spChg>
        <pc:spChg chg="add del mod">
          <ac:chgData name="Michael Tull" userId="9b84a4a9-44d8-4d28-b1a8-900a431bc43d" providerId="ADAL" clId="{A04BA11E-879C-4F61-84D5-446AB79F79BC}" dt="2022-05-16T09:07:44.415" v="2482" actId="478"/>
          <ac:spMkLst>
            <pc:docMk/>
            <pc:sldMk cId="3226009768" sldId="5033"/>
            <ac:spMk id="14" creationId="{084735AC-7F7C-44E3-AEF0-DEAD25699176}"/>
          </ac:spMkLst>
        </pc:spChg>
        <pc:spChg chg="mod">
          <ac:chgData name="Michael Tull" userId="9b84a4a9-44d8-4d28-b1a8-900a431bc43d" providerId="ADAL" clId="{A04BA11E-879C-4F61-84D5-446AB79F79BC}" dt="2022-05-16T09:07:58.821" v="2506" actId="1036"/>
          <ac:spMkLst>
            <pc:docMk/>
            <pc:sldMk cId="3226009768" sldId="5033"/>
            <ac:spMk id="15" creationId="{114A3D26-E863-4BC8-B595-B80AB42755B5}"/>
          </ac:spMkLst>
        </pc:spChg>
        <pc:spChg chg="add del mod">
          <ac:chgData name="Michael Tull" userId="9b84a4a9-44d8-4d28-b1a8-900a431bc43d" providerId="ADAL" clId="{A04BA11E-879C-4F61-84D5-446AB79F79BC}" dt="2022-05-16T09:07:46.103" v="2484" actId="478"/>
          <ac:spMkLst>
            <pc:docMk/>
            <pc:sldMk cId="3226009768" sldId="5033"/>
            <ac:spMk id="17" creationId="{B7CFF1D5-B07E-4C98-A957-0398E9F5DF59}"/>
          </ac:spMkLst>
        </pc:spChg>
        <pc:spChg chg="del">
          <ac:chgData name="Michael Tull" userId="9b84a4a9-44d8-4d28-b1a8-900a431bc43d" providerId="ADAL" clId="{A04BA11E-879C-4F61-84D5-446AB79F79BC}" dt="2022-05-16T09:07:42.427" v="2481" actId="478"/>
          <ac:spMkLst>
            <pc:docMk/>
            <pc:sldMk cId="3226009768" sldId="5033"/>
            <ac:spMk id="18" creationId="{70C5D0A9-1D5E-41BA-96A4-6CC3D80C0804}"/>
          </ac:spMkLst>
        </pc:spChg>
        <pc:spChg chg="add mod">
          <ac:chgData name="Michael Tull" userId="9b84a4a9-44d8-4d28-b1a8-900a431bc43d" providerId="ADAL" clId="{A04BA11E-879C-4F61-84D5-446AB79F79BC}" dt="2022-05-16T09:07:52.753" v="2489" actId="478"/>
          <ac:spMkLst>
            <pc:docMk/>
            <pc:sldMk cId="3226009768" sldId="5033"/>
            <ac:spMk id="20" creationId="{A94F14E9-8BA6-4CD3-A40E-34463E7D8DA9}"/>
          </ac:spMkLst>
        </pc:spChg>
        <pc:spChg chg="mod">
          <ac:chgData name="Michael Tull" userId="9b84a4a9-44d8-4d28-b1a8-900a431bc43d" providerId="ADAL" clId="{A04BA11E-879C-4F61-84D5-446AB79F79BC}" dt="2022-05-16T09:07:58.821" v="2506" actId="1036"/>
          <ac:spMkLst>
            <pc:docMk/>
            <pc:sldMk cId="3226009768" sldId="5033"/>
            <ac:spMk id="21" creationId="{FE5DDC98-23A9-4171-AF84-04A9C34DF6B0}"/>
          </ac:spMkLst>
        </pc:spChg>
        <pc:spChg chg="del">
          <ac:chgData name="Michael Tull" userId="9b84a4a9-44d8-4d28-b1a8-900a431bc43d" providerId="ADAL" clId="{A04BA11E-879C-4F61-84D5-446AB79F79BC}" dt="2022-05-16T09:07:45.249" v="2483" actId="478"/>
          <ac:spMkLst>
            <pc:docMk/>
            <pc:sldMk cId="3226009768" sldId="5033"/>
            <ac:spMk id="24" creationId="{6F8B394A-6EB8-4DBB-BE01-E6B7A6130393}"/>
          </ac:spMkLst>
        </pc:spChg>
        <pc:spChg chg="mod">
          <ac:chgData name="Michael Tull" userId="9b84a4a9-44d8-4d28-b1a8-900a431bc43d" providerId="ADAL" clId="{A04BA11E-879C-4F61-84D5-446AB79F79BC}" dt="2022-05-16T09:07:58.821" v="2506" actId="1036"/>
          <ac:spMkLst>
            <pc:docMk/>
            <pc:sldMk cId="3226009768" sldId="5033"/>
            <ac:spMk id="27" creationId="{943B9773-826B-401E-A0FE-70277076D526}"/>
          </ac:spMkLst>
        </pc:spChg>
        <pc:picChg chg="mod">
          <ac:chgData name="Michael Tull" userId="9b84a4a9-44d8-4d28-b1a8-900a431bc43d" providerId="ADAL" clId="{A04BA11E-879C-4F61-84D5-446AB79F79BC}" dt="2022-05-16T09:07:58.821" v="2506" actId="1036"/>
          <ac:picMkLst>
            <pc:docMk/>
            <pc:sldMk cId="3226009768" sldId="5033"/>
            <ac:picMk id="30" creationId="{C57E4F6B-6DD0-43CF-8284-EF1027995272}"/>
          </ac:picMkLst>
        </pc:picChg>
        <pc:picChg chg="mod">
          <ac:chgData name="Michael Tull" userId="9b84a4a9-44d8-4d28-b1a8-900a431bc43d" providerId="ADAL" clId="{A04BA11E-879C-4F61-84D5-446AB79F79BC}" dt="2022-05-16T09:07:58.821" v="2506" actId="1036"/>
          <ac:picMkLst>
            <pc:docMk/>
            <pc:sldMk cId="3226009768" sldId="5033"/>
            <ac:picMk id="32" creationId="{99BFA1C7-3212-4E19-918D-F6EF6FE44DAD}"/>
          </ac:picMkLst>
        </pc:picChg>
        <pc:picChg chg="mod">
          <ac:chgData name="Michael Tull" userId="9b84a4a9-44d8-4d28-b1a8-900a431bc43d" providerId="ADAL" clId="{A04BA11E-879C-4F61-84D5-446AB79F79BC}" dt="2022-05-16T09:07:58.821" v="2506" actId="1036"/>
          <ac:picMkLst>
            <pc:docMk/>
            <pc:sldMk cId="3226009768" sldId="5033"/>
            <ac:picMk id="34" creationId="{73D1E975-ECB7-4D56-ACCE-2F3255F5473C}"/>
          </ac:picMkLst>
        </pc:picChg>
        <pc:picChg chg="mod">
          <ac:chgData name="Michael Tull" userId="9b84a4a9-44d8-4d28-b1a8-900a431bc43d" providerId="ADAL" clId="{A04BA11E-879C-4F61-84D5-446AB79F79BC}" dt="2022-05-16T09:07:58.821" v="2506" actId="1036"/>
          <ac:picMkLst>
            <pc:docMk/>
            <pc:sldMk cId="3226009768" sldId="5033"/>
            <ac:picMk id="36" creationId="{659D28FB-C369-474C-B702-5227260E38B5}"/>
          </ac:picMkLst>
        </pc:picChg>
        <pc:picChg chg="mod">
          <ac:chgData name="Michael Tull" userId="9b84a4a9-44d8-4d28-b1a8-900a431bc43d" providerId="ADAL" clId="{A04BA11E-879C-4F61-84D5-446AB79F79BC}" dt="2022-05-16T09:07:58.821" v="2506" actId="1036"/>
          <ac:picMkLst>
            <pc:docMk/>
            <pc:sldMk cId="3226009768" sldId="5033"/>
            <ac:picMk id="38" creationId="{7CD3534F-3DFF-4EA6-8002-F1AA214E6993}"/>
          </ac:picMkLst>
        </pc:picChg>
        <pc:picChg chg="mod">
          <ac:chgData name="Michael Tull" userId="9b84a4a9-44d8-4d28-b1a8-900a431bc43d" providerId="ADAL" clId="{A04BA11E-879C-4F61-84D5-446AB79F79BC}" dt="2022-05-16T09:07:58.821" v="2506" actId="1036"/>
          <ac:picMkLst>
            <pc:docMk/>
            <pc:sldMk cId="3226009768" sldId="5033"/>
            <ac:picMk id="40" creationId="{A90F892B-1357-4CD1-8B7C-E55D5FCF3421}"/>
          </ac:picMkLst>
        </pc:picChg>
      </pc:sldChg>
      <pc:sldChg chg="add del">
        <pc:chgData name="Michael Tull" userId="9b84a4a9-44d8-4d28-b1a8-900a431bc43d" providerId="ADAL" clId="{A04BA11E-879C-4F61-84D5-446AB79F79BC}" dt="2022-05-16T09:08:29.515" v="2508"/>
        <pc:sldMkLst>
          <pc:docMk/>
          <pc:sldMk cId="1445976958" sldId="5034"/>
        </pc:sldMkLst>
      </pc:sldChg>
      <pc:sldChg chg="addSp delSp modSp add mod">
        <pc:chgData name="Michael Tull" userId="9b84a4a9-44d8-4d28-b1a8-900a431bc43d" providerId="ADAL" clId="{A04BA11E-879C-4F61-84D5-446AB79F79BC}" dt="2022-05-16T09:09:56.539" v="2538" actId="34135"/>
        <pc:sldMkLst>
          <pc:docMk/>
          <pc:sldMk cId="4025433950" sldId="5034"/>
        </pc:sldMkLst>
        <pc:spChg chg="mod">
          <ac:chgData name="Michael Tull" userId="9b84a4a9-44d8-4d28-b1a8-900a431bc43d" providerId="ADAL" clId="{A04BA11E-879C-4F61-84D5-446AB79F79BC}" dt="2022-05-16T09:08:36.872" v="2510"/>
          <ac:spMkLst>
            <pc:docMk/>
            <pc:sldMk cId="4025433950" sldId="5034"/>
            <ac:spMk id="2" creationId="{0FCC1D6A-028A-40E4-81B3-3E8C9D702AC5}"/>
          </ac:spMkLst>
        </pc:spChg>
        <pc:spChg chg="add del mod">
          <ac:chgData name="Michael Tull" userId="9b84a4a9-44d8-4d28-b1a8-900a431bc43d" providerId="ADAL" clId="{A04BA11E-879C-4F61-84D5-446AB79F79BC}" dt="2022-05-16T09:09:05.940" v="2524" actId="478"/>
          <ac:spMkLst>
            <pc:docMk/>
            <pc:sldMk cId="4025433950" sldId="5034"/>
            <ac:spMk id="4" creationId="{DFB4AD21-8E56-4B29-84D8-B8FE30267DC3}"/>
          </ac:spMkLst>
        </pc:spChg>
        <pc:spChg chg="del">
          <ac:chgData name="Michael Tull" userId="9b84a4a9-44d8-4d28-b1a8-900a431bc43d" providerId="ADAL" clId="{A04BA11E-879C-4F61-84D5-446AB79F79BC}" dt="2022-05-16T09:09:04.936" v="2523" actId="478"/>
          <ac:spMkLst>
            <pc:docMk/>
            <pc:sldMk cId="4025433950" sldId="5034"/>
            <ac:spMk id="10" creationId="{420197BF-0559-47F1-A127-D4997E370205}"/>
          </ac:spMkLst>
        </pc:spChg>
        <pc:spChg chg="mod">
          <ac:chgData name="Michael Tull" userId="9b84a4a9-44d8-4d28-b1a8-900a431bc43d" providerId="ADAL" clId="{A04BA11E-879C-4F61-84D5-446AB79F79BC}" dt="2022-05-16T09:09:02.051" v="2522" actId="14100"/>
          <ac:spMkLst>
            <pc:docMk/>
            <pc:sldMk cId="4025433950" sldId="5034"/>
            <ac:spMk id="15" creationId="{12E8CD1A-CFB6-49C9-8C42-BFA2A7A36F8A}"/>
          </ac:spMkLst>
        </pc:spChg>
        <pc:spChg chg="mod">
          <ac:chgData name="Michael Tull" userId="9b84a4a9-44d8-4d28-b1a8-900a431bc43d" providerId="ADAL" clId="{A04BA11E-879C-4F61-84D5-446AB79F79BC}" dt="2022-05-16T09:08:56.423" v="2520"/>
          <ac:spMkLst>
            <pc:docMk/>
            <pc:sldMk cId="4025433950" sldId="5034"/>
            <ac:spMk id="22" creationId="{7187BF24-7962-4290-BEF0-0517D60A6AAB}"/>
          </ac:spMkLst>
        </pc:spChg>
        <pc:spChg chg="mod">
          <ac:chgData name="Michael Tull" userId="9b84a4a9-44d8-4d28-b1a8-900a431bc43d" providerId="ADAL" clId="{A04BA11E-879C-4F61-84D5-446AB79F79BC}" dt="2022-05-16T09:08:54.233" v="2519"/>
          <ac:spMkLst>
            <pc:docMk/>
            <pc:sldMk cId="4025433950" sldId="5034"/>
            <ac:spMk id="23" creationId="{DD719BEB-223E-4BD4-A536-1C0715F8A856}"/>
          </ac:spMkLst>
        </pc:spChg>
        <pc:spChg chg="mod">
          <ac:chgData name="Michael Tull" userId="9b84a4a9-44d8-4d28-b1a8-900a431bc43d" providerId="ADAL" clId="{A04BA11E-879C-4F61-84D5-446AB79F79BC}" dt="2022-05-16T09:08:52.182" v="2518"/>
          <ac:spMkLst>
            <pc:docMk/>
            <pc:sldMk cId="4025433950" sldId="5034"/>
            <ac:spMk id="24" creationId="{96ED8F24-2B66-431D-890A-271AC2BAF38E}"/>
          </ac:spMkLst>
        </pc:spChg>
        <pc:spChg chg="mod">
          <ac:chgData name="Michael Tull" userId="9b84a4a9-44d8-4d28-b1a8-900a431bc43d" providerId="ADAL" clId="{A04BA11E-879C-4F61-84D5-446AB79F79BC}" dt="2022-05-16T09:08:50.179" v="2517"/>
          <ac:spMkLst>
            <pc:docMk/>
            <pc:sldMk cId="4025433950" sldId="5034"/>
            <ac:spMk id="25" creationId="{10B47A4F-3605-46C2-B271-3D64F23055BF}"/>
          </ac:spMkLst>
        </pc:spChg>
        <pc:spChg chg="mod">
          <ac:chgData name="Michael Tull" userId="9b84a4a9-44d8-4d28-b1a8-900a431bc43d" providerId="ADAL" clId="{A04BA11E-879C-4F61-84D5-446AB79F79BC}" dt="2022-05-16T09:08:47.405" v="2515"/>
          <ac:spMkLst>
            <pc:docMk/>
            <pc:sldMk cId="4025433950" sldId="5034"/>
            <ac:spMk id="26" creationId="{AA665DF5-188A-4401-8384-A290D173B6EF}"/>
          </ac:spMkLst>
        </pc:spChg>
        <pc:spChg chg="mod">
          <ac:chgData name="Michael Tull" userId="9b84a4a9-44d8-4d28-b1a8-900a431bc43d" providerId="ADAL" clId="{A04BA11E-879C-4F61-84D5-446AB79F79BC}" dt="2022-05-16T09:08:45.485" v="2514"/>
          <ac:spMkLst>
            <pc:docMk/>
            <pc:sldMk cId="4025433950" sldId="5034"/>
            <ac:spMk id="27" creationId="{E7A0CA50-BB63-4805-A1E3-C105E08D56EE}"/>
          </ac:spMkLst>
        </pc:spChg>
        <pc:spChg chg="mod">
          <ac:chgData name="Michael Tull" userId="9b84a4a9-44d8-4d28-b1a8-900a431bc43d" providerId="ADAL" clId="{A04BA11E-879C-4F61-84D5-446AB79F79BC}" dt="2022-05-16T09:08:43.400" v="2513"/>
          <ac:spMkLst>
            <pc:docMk/>
            <pc:sldMk cId="4025433950" sldId="5034"/>
            <ac:spMk id="28" creationId="{22200F6E-A508-4BB4-AEE6-2A753210B8C9}"/>
          </ac:spMkLst>
        </pc:spChg>
        <pc:spChg chg="mod">
          <ac:chgData name="Michael Tull" userId="9b84a4a9-44d8-4d28-b1a8-900a431bc43d" providerId="ADAL" clId="{A04BA11E-879C-4F61-84D5-446AB79F79BC}" dt="2022-05-16T09:08:41.645" v="2512"/>
          <ac:spMkLst>
            <pc:docMk/>
            <pc:sldMk cId="4025433950" sldId="5034"/>
            <ac:spMk id="29" creationId="{D0F63C69-34F6-4A90-9F4E-8A9325D4B22E}"/>
          </ac:spMkLst>
        </pc:spChg>
        <pc:spChg chg="mod">
          <ac:chgData name="Michael Tull" userId="9b84a4a9-44d8-4d28-b1a8-900a431bc43d" providerId="ADAL" clId="{A04BA11E-879C-4F61-84D5-446AB79F79BC}" dt="2022-05-16T09:08:39.623" v="2511"/>
          <ac:spMkLst>
            <pc:docMk/>
            <pc:sldMk cId="4025433950" sldId="5034"/>
            <ac:spMk id="30" creationId="{F94D7A44-FC38-4C1C-BBF7-DC241B0E3BE7}"/>
          </ac:spMkLst>
        </pc:spChg>
        <pc:spChg chg="mod ord">
          <ac:chgData name="Michael Tull" userId="9b84a4a9-44d8-4d28-b1a8-900a431bc43d" providerId="ADAL" clId="{A04BA11E-879C-4F61-84D5-446AB79F79BC}" dt="2022-05-16T09:09:56.539" v="2538" actId="34135"/>
          <ac:spMkLst>
            <pc:docMk/>
            <pc:sldMk cId="4025433950" sldId="5034"/>
            <ac:spMk id="50" creationId="{3DA7EA81-17B0-4B2C-A55B-0060CFED6AC7}"/>
          </ac:spMkLst>
        </pc:spChg>
        <pc:picChg chg="mod ord modCrop">
          <ac:chgData name="Michael Tull" userId="9b84a4a9-44d8-4d28-b1a8-900a431bc43d" providerId="ADAL" clId="{A04BA11E-879C-4F61-84D5-446AB79F79BC}" dt="2022-05-16T09:09:56.539" v="2538" actId="34135"/>
          <ac:picMkLst>
            <pc:docMk/>
            <pc:sldMk cId="4025433950" sldId="5034"/>
            <ac:picMk id="49" creationId="{925311E6-B238-4274-9E72-A8FBDDBD1BD3}"/>
          </ac:picMkLst>
        </pc:picChg>
      </pc:sldChg>
      <pc:sldMasterChg chg="delSldLayout">
        <pc:chgData name="Michael Tull" userId="9b84a4a9-44d8-4d28-b1a8-900a431bc43d" providerId="ADAL" clId="{A04BA11E-879C-4F61-84D5-446AB79F79BC}" dt="2022-05-16T09:10:12.120" v="2539" actId="47"/>
        <pc:sldMasterMkLst>
          <pc:docMk/>
          <pc:sldMasterMk cId="2418306645" sldId="2147483744"/>
        </pc:sldMasterMkLst>
        <pc:sldLayoutChg chg="del">
          <pc:chgData name="Michael Tull" userId="9b84a4a9-44d8-4d28-b1a8-900a431bc43d" providerId="ADAL" clId="{A04BA11E-879C-4F61-84D5-446AB79F79BC}" dt="2022-05-16T09:07:11.854" v="2463" actId="47"/>
          <pc:sldLayoutMkLst>
            <pc:docMk/>
            <pc:sldMasterMk cId="2418306645" sldId="2147483744"/>
            <pc:sldLayoutMk cId="2144850453" sldId="2147484151"/>
          </pc:sldLayoutMkLst>
        </pc:sldLayoutChg>
        <pc:sldLayoutChg chg="del">
          <pc:chgData name="Michael Tull" userId="9b84a4a9-44d8-4d28-b1a8-900a431bc43d" providerId="ADAL" clId="{A04BA11E-879C-4F61-84D5-446AB79F79BC}" dt="2022-05-16T09:10:12.120" v="2539" actId="47"/>
          <pc:sldLayoutMkLst>
            <pc:docMk/>
            <pc:sldMasterMk cId="2418306645" sldId="2147483744"/>
            <pc:sldLayoutMk cId="4162999963" sldId="2147484152"/>
          </pc:sldLayoutMkLst>
        </pc:sldLayoutChg>
      </pc:sldMasterChg>
      <pc:sldMasterChg chg="del delSldLayout">
        <pc:chgData name="Michael Tull" userId="9b84a4a9-44d8-4d28-b1a8-900a431bc43d" providerId="ADAL" clId="{A04BA11E-879C-4F61-84D5-446AB79F79BC}" dt="2022-05-16T09:04:45.739" v="2268" actId="2696"/>
        <pc:sldMasterMkLst>
          <pc:docMk/>
          <pc:sldMasterMk cId="2418306645" sldId="2147483758"/>
        </pc:sldMasterMkLst>
        <pc:sldLayoutChg chg="del">
          <pc:chgData name="Michael Tull" userId="9b84a4a9-44d8-4d28-b1a8-900a431bc43d" providerId="ADAL" clId="{A04BA11E-879C-4F61-84D5-446AB79F79BC}" dt="2022-05-16T09:04:45.545" v="2256" actId="2696"/>
          <pc:sldLayoutMkLst>
            <pc:docMk/>
            <pc:sldMasterMk cId="2418306645" sldId="2147483758"/>
            <pc:sldLayoutMk cId="1973618345" sldId="2147483677"/>
          </pc:sldLayoutMkLst>
        </pc:sldLayoutChg>
        <pc:sldLayoutChg chg="del">
          <pc:chgData name="Michael Tull" userId="9b84a4a9-44d8-4d28-b1a8-900a431bc43d" providerId="ADAL" clId="{A04BA11E-879C-4F61-84D5-446AB79F79BC}" dt="2022-05-16T09:04:45.569" v="2257" actId="2696"/>
          <pc:sldLayoutMkLst>
            <pc:docMk/>
            <pc:sldMasterMk cId="2418306645" sldId="2147483758"/>
            <pc:sldLayoutMk cId="53261411" sldId="2147483689"/>
          </pc:sldLayoutMkLst>
        </pc:sldLayoutChg>
        <pc:sldLayoutChg chg="del">
          <pc:chgData name="Michael Tull" userId="9b84a4a9-44d8-4d28-b1a8-900a431bc43d" providerId="ADAL" clId="{A04BA11E-879C-4F61-84D5-446AB79F79BC}" dt="2022-05-16T09:04:45.594" v="2258" actId="2696"/>
          <pc:sldLayoutMkLst>
            <pc:docMk/>
            <pc:sldMasterMk cId="2418306645" sldId="2147483758"/>
            <pc:sldLayoutMk cId="1981888765" sldId="2147483690"/>
          </pc:sldLayoutMkLst>
        </pc:sldLayoutChg>
        <pc:sldLayoutChg chg="del">
          <pc:chgData name="Michael Tull" userId="9b84a4a9-44d8-4d28-b1a8-900a431bc43d" providerId="ADAL" clId="{A04BA11E-879C-4F61-84D5-446AB79F79BC}" dt="2022-05-16T09:04:45.613" v="2259" actId="2696"/>
          <pc:sldLayoutMkLst>
            <pc:docMk/>
            <pc:sldMasterMk cId="2418306645" sldId="2147483758"/>
            <pc:sldLayoutMk cId="1981888765" sldId="2147483691"/>
          </pc:sldLayoutMkLst>
        </pc:sldLayoutChg>
        <pc:sldLayoutChg chg="del">
          <pc:chgData name="Michael Tull" userId="9b84a4a9-44d8-4d28-b1a8-900a431bc43d" providerId="ADAL" clId="{A04BA11E-879C-4F61-84D5-446AB79F79BC}" dt="2022-05-16T09:04:45.629" v="2260" actId="2696"/>
          <pc:sldLayoutMkLst>
            <pc:docMk/>
            <pc:sldMasterMk cId="2418306645" sldId="2147483758"/>
            <pc:sldLayoutMk cId="1981888765" sldId="2147483692"/>
          </pc:sldLayoutMkLst>
        </pc:sldLayoutChg>
        <pc:sldLayoutChg chg="del">
          <pc:chgData name="Michael Tull" userId="9b84a4a9-44d8-4d28-b1a8-900a431bc43d" providerId="ADAL" clId="{A04BA11E-879C-4F61-84D5-446AB79F79BC}" dt="2022-05-16T09:04:45.643" v="2261" actId="2696"/>
          <pc:sldLayoutMkLst>
            <pc:docMk/>
            <pc:sldMasterMk cId="2418306645" sldId="2147483758"/>
            <pc:sldLayoutMk cId="1981888765" sldId="2147483693"/>
          </pc:sldLayoutMkLst>
        </pc:sldLayoutChg>
        <pc:sldLayoutChg chg="del">
          <pc:chgData name="Michael Tull" userId="9b84a4a9-44d8-4d28-b1a8-900a431bc43d" providerId="ADAL" clId="{A04BA11E-879C-4F61-84D5-446AB79F79BC}" dt="2022-05-16T09:04:45.669" v="2263" actId="2696"/>
          <pc:sldLayoutMkLst>
            <pc:docMk/>
            <pc:sldMasterMk cId="2418306645" sldId="2147483758"/>
            <pc:sldLayoutMk cId="1981888765" sldId="2147483694"/>
          </pc:sldLayoutMkLst>
        </pc:sldLayoutChg>
        <pc:sldLayoutChg chg="del">
          <pc:chgData name="Michael Tull" userId="9b84a4a9-44d8-4d28-b1a8-900a431bc43d" providerId="ADAL" clId="{A04BA11E-879C-4F61-84D5-446AB79F79BC}" dt="2022-05-16T09:04:45.682" v="2264" actId="2696"/>
          <pc:sldLayoutMkLst>
            <pc:docMk/>
            <pc:sldMasterMk cId="2418306645" sldId="2147483758"/>
            <pc:sldLayoutMk cId="1981888765" sldId="2147483695"/>
          </pc:sldLayoutMkLst>
        </pc:sldLayoutChg>
        <pc:sldLayoutChg chg="del">
          <pc:chgData name="Michael Tull" userId="9b84a4a9-44d8-4d28-b1a8-900a431bc43d" providerId="ADAL" clId="{A04BA11E-879C-4F61-84D5-446AB79F79BC}" dt="2022-05-16T09:04:45.718" v="2266" actId="2696"/>
          <pc:sldLayoutMkLst>
            <pc:docMk/>
            <pc:sldMasterMk cId="2418306645" sldId="2147483758"/>
            <pc:sldLayoutMk cId="1981888765" sldId="2147483697"/>
          </pc:sldLayoutMkLst>
        </pc:sldLayoutChg>
        <pc:sldLayoutChg chg="del">
          <pc:chgData name="Michael Tull" userId="9b84a4a9-44d8-4d28-b1a8-900a431bc43d" providerId="ADAL" clId="{A04BA11E-879C-4F61-84D5-446AB79F79BC}" dt="2022-05-16T09:04:45.659" v="2262" actId="2696"/>
          <pc:sldLayoutMkLst>
            <pc:docMk/>
            <pc:sldMasterMk cId="2418306645" sldId="2147483758"/>
            <pc:sldLayoutMk cId="1934644903" sldId="2147483919"/>
          </pc:sldLayoutMkLst>
        </pc:sldLayoutChg>
        <pc:sldLayoutChg chg="del">
          <pc:chgData name="Michael Tull" userId="9b84a4a9-44d8-4d28-b1a8-900a431bc43d" providerId="ADAL" clId="{A04BA11E-879C-4F61-84D5-446AB79F79BC}" dt="2022-05-16T09:04:45.698" v="2265" actId="2696"/>
          <pc:sldLayoutMkLst>
            <pc:docMk/>
            <pc:sldMasterMk cId="2418306645" sldId="2147483758"/>
            <pc:sldLayoutMk cId="202624413" sldId="2147483920"/>
          </pc:sldLayoutMkLst>
        </pc:sldLayoutChg>
        <pc:sldLayoutChg chg="del">
          <pc:chgData name="Michael Tull" userId="9b84a4a9-44d8-4d28-b1a8-900a431bc43d" providerId="ADAL" clId="{A04BA11E-879C-4F61-84D5-446AB79F79BC}" dt="2022-05-16T09:04:45.722" v="2267" actId="2696"/>
          <pc:sldLayoutMkLst>
            <pc:docMk/>
            <pc:sldMasterMk cId="2418306645" sldId="2147483758"/>
            <pc:sldLayoutMk cId="1095920448" sldId="2147484045"/>
          </pc:sldLayoutMkLst>
        </pc:sldLayoutChg>
      </pc:sldMasterChg>
      <pc:sldMasterChg chg="del delSldLayout">
        <pc:chgData name="Michael Tull" userId="9b84a4a9-44d8-4d28-b1a8-900a431bc43d" providerId="ADAL" clId="{A04BA11E-879C-4F61-84D5-446AB79F79BC}" dt="2022-05-16T09:04:46.971" v="2291" actId="2696"/>
        <pc:sldMasterMkLst>
          <pc:docMk/>
          <pc:sldMasterMk cId="2418306645" sldId="2147483782"/>
        </pc:sldMasterMkLst>
        <pc:sldLayoutChg chg="del">
          <pc:chgData name="Michael Tull" userId="9b84a4a9-44d8-4d28-b1a8-900a431bc43d" providerId="ADAL" clId="{A04BA11E-879C-4F61-84D5-446AB79F79BC}" dt="2022-05-16T09:04:46.671" v="2269" actId="2696"/>
          <pc:sldLayoutMkLst>
            <pc:docMk/>
            <pc:sldMasterMk cId="2418306645" sldId="2147483782"/>
            <pc:sldLayoutMk cId="1502766035" sldId="2147483676"/>
          </pc:sldLayoutMkLst>
        </pc:sldLayoutChg>
        <pc:sldLayoutChg chg="del">
          <pc:chgData name="Michael Tull" userId="9b84a4a9-44d8-4d28-b1a8-900a431bc43d" providerId="ADAL" clId="{A04BA11E-879C-4F61-84D5-446AB79F79BC}" dt="2022-05-16T09:04:46.716" v="2273" actId="2696"/>
          <pc:sldLayoutMkLst>
            <pc:docMk/>
            <pc:sldMasterMk cId="2418306645" sldId="2147483782"/>
            <pc:sldLayoutMk cId="3968872968" sldId="2147483699"/>
          </pc:sldLayoutMkLst>
        </pc:sldLayoutChg>
        <pc:sldLayoutChg chg="del">
          <pc:chgData name="Michael Tull" userId="9b84a4a9-44d8-4d28-b1a8-900a431bc43d" providerId="ADAL" clId="{A04BA11E-879C-4F61-84D5-446AB79F79BC}" dt="2022-05-16T09:04:46.732" v="2274" actId="2696"/>
          <pc:sldLayoutMkLst>
            <pc:docMk/>
            <pc:sldMasterMk cId="2418306645" sldId="2147483782"/>
            <pc:sldLayoutMk cId="635364675" sldId="2147483700"/>
          </pc:sldLayoutMkLst>
        </pc:sldLayoutChg>
        <pc:sldLayoutChg chg="del">
          <pc:chgData name="Michael Tull" userId="9b84a4a9-44d8-4d28-b1a8-900a431bc43d" providerId="ADAL" clId="{A04BA11E-879C-4F61-84D5-446AB79F79BC}" dt="2022-05-16T09:04:46.771" v="2276" actId="2696"/>
          <pc:sldLayoutMkLst>
            <pc:docMk/>
            <pc:sldMasterMk cId="2418306645" sldId="2147483782"/>
            <pc:sldLayoutMk cId="1486387976" sldId="2147483701"/>
          </pc:sldLayoutMkLst>
        </pc:sldLayoutChg>
        <pc:sldLayoutChg chg="del">
          <pc:chgData name="Michael Tull" userId="9b84a4a9-44d8-4d28-b1a8-900a431bc43d" providerId="ADAL" clId="{A04BA11E-879C-4F61-84D5-446AB79F79BC}" dt="2022-05-16T09:04:46.787" v="2277" actId="2696"/>
          <pc:sldLayoutMkLst>
            <pc:docMk/>
            <pc:sldMasterMk cId="2418306645" sldId="2147483782"/>
            <pc:sldLayoutMk cId="411605087" sldId="2147483702"/>
          </pc:sldLayoutMkLst>
        </pc:sldLayoutChg>
        <pc:sldLayoutChg chg="del">
          <pc:chgData name="Michael Tull" userId="9b84a4a9-44d8-4d28-b1a8-900a431bc43d" providerId="ADAL" clId="{A04BA11E-879C-4F61-84D5-446AB79F79BC}" dt="2022-05-16T09:04:46.803" v="2278" actId="2696"/>
          <pc:sldLayoutMkLst>
            <pc:docMk/>
            <pc:sldMasterMk cId="2418306645" sldId="2147483782"/>
            <pc:sldLayoutMk cId="2950026612" sldId="2147483703"/>
          </pc:sldLayoutMkLst>
        </pc:sldLayoutChg>
        <pc:sldLayoutChg chg="del">
          <pc:chgData name="Michael Tull" userId="9b84a4a9-44d8-4d28-b1a8-900a431bc43d" providerId="ADAL" clId="{A04BA11E-879C-4F61-84D5-446AB79F79BC}" dt="2022-05-16T09:04:46.818" v="2279" actId="2696"/>
          <pc:sldLayoutMkLst>
            <pc:docMk/>
            <pc:sldMasterMk cId="2418306645" sldId="2147483782"/>
            <pc:sldLayoutMk cId="349892929" sldId="2147483704"/>
          </pc:sldLayoutMkLst>
        </pc:sldLayoutChg>
        <pc:sldLayoutChg chg="del">
          <pc:chgData name="Michael Tull" userId="9b84a4a9-44d8-4d28-b1a8-900a431bc43d" providerId="ADAL" clId="{A04BA11E-879C-4F61-84D5-446AB79F79BC}" dt="2022-05-16T09:04:46.871" v="2282" actId="2696"/>
          <pc:sldLayoutMkLst>
            <pc:docMk/>
            <pc:sldMasterMk cId="2418306645" sldId="2147483782"/>
            <pc:sldLayoutMk cId="2107707572" sldId="2147483706"/>
          </pc:sldLayoutMkLst>
        </pc:sldLayoutChg>
        <pc:sldLayoutChg chg="del">
          <pc:chgData name="Michael Tull" userId="9b84a4a9-44d8-4d28-b1a8-900a431bc43d" providerId="ADAL" clId="{A04BA11E-879C-4F61-84D5-446AB79F79BC}" dt="2022-05-16T09:04:46.886" v="2283" actId="2696"/>
          <pc:sldLayoutMkLst>
            <pc:docMk/>
            <pc:sldMasterMk cId="2418306645" sldId="2147483782"/>
            <pc:sldLayoutMk cId="1355880046" sldId="2147483707"/>
          </pc:sldLayoutMkLst>
        </pc:sldLayoutChg>
        <pc:sldLayoutChg chg="del">
          <pc:chgData name="Michael Tull" userId="9b84a4a9-44d8-4d28-b1a8-900a431bc43d" providerId="ADAL" clId="{A04BA11E-879C-4F61-84D5-446AB79F79BC}" dt="2022-05-16T09:04:46.904" v="2284" actId="2696"/>
          <pc:sldLayoutMkLst>
            <pc:docMk/>
            <pc:sldMasterMk cId="2418306645" sldId="2147483782"/>
            <pc:sldLayoutMk cId="2392790230" sldId="2147483712"/>
          </pc:sldLayoutMkLst>
        </pc:sldLayoutChg>
        <pc:sldLayoutChg chg="del">
          <pc:chgData name="Michael Tull" userId="9b84a4a9-44d8-4d28-b1a8-900a431bc43d" providerId="ADAL" clId="{A04BA11E-879C-4F61-84D5-446AB79F79BC}" dt="2022-05-16T09:04:46.748" v="2275" actId="2696"/>
          <pc:sldLayoutMkLst>
            <pc:docMk/>
            <pc:sldMasterMk cId="2418306645" sldId="2147483782"/>
            <pc:sldLayoutMk cId="2427854176" sldId="2147483739"/>
          </pc:sldLayoutMkLst>
        </pc:sldLayoutChg>
        <pc:sldLayoutChg chg="del">
          <pc:chgData name="Michael Tull" userId="9b84a4a9-44d8-4d28-b1a8-900a431bc43d" providerId="ADAL" clId="{A04BA11E-879C-4F61-84D5-446AB79F79BC}" dt="2022-05-16T09:04:46.687" v="2270" actId="2696"/>
          <pc:sldLayoutMkLst>
            <pc:docMk/>
            <pc:sldMasterMk cId="2418306645" sldId="2147483782"/>
            <pc:sldLayoutMk cId="4100755820" sldId="2147483740"/>
          </pc:sldLayoutMkLst>
        </pc:sldLayoutChg>
        <pc:sldLayoutChg chg="del">
          <pc:chgData name="Michael Tull" userId="9b84a4a9-44d8-4d28-b1a8-900a431bc43d" providerId="ADAL" clId="{A04BA11E-879C-4F61-84D5-446AB79F79BC}" dt="2022-05-16T09:04:46.834" v="2280" actId="2696"/>
          <pc:sldLayoutMkLst>
            <pc:docMk/>
            <pc:sldMasterMk cId="2418306645" sldId="2147483782"/>
            <pc:sldLayoutMk cId="1579802159" sldId="2147483929"/>
          </pc:sldLayoutMkLst>
        </pc:sldLayoutChg>
        <pc:sldLayoutChg chg="del">
          <pc:chgData name="Michael Tull" userId="9b84a4a9-44d8-4d28-b1a8-900a431bc43d" providerId="ADAL" clId="{A04BA11E-879C-4F61-84D5-446AB79F79BC}" dt="2022-05-16T09:04:46.850" v="2281" actId="2696"/>
          <pc:sldLayoutMkLst>
            <pc:docMk/>
            <pc:sldMasterMk cId="2418306645" sldId="2147483782"/>
            <pc:sldLayoutMk cId="247074805" sldId="2147483930"/>
          </pc:sldLayoutMkLst>
        </pc:sldLayoutChg>
        <pc:sldLayoutChg chg="del">
          <pc:chgData name="Michael Tull" userId="9b84a4a9-44d8-4d28-b1a8-900a431bc43d" providerId="ADAL" clId="{A04BA11E-879C-4F61-84D5-446AB79F79BC}" dt="2022-05-16T09:04:46.907" v="2285" actId="2696"/>
          <pc:sldLayoutMkLst>
            <pc:docMk/>
            <pc:sldMasterMk cId="2418306645" sldId="2147483782"/>
            <pc:sldLayoutMk cId="669214861" sldId="2147484037"/>
          </pc:sldLayoutMkLst>
        </pc:sldLayoutChg>
        <pc:sldLayoutChg chg="del">
          <pc:chgData name="Michael Tull" userId="9b84a4a9-44d8-4d28-b1a8-900a431bc43d" providerId="ADAL" clId="{A04BA11E-879C-4F61-84D5-446AB79F79BC}" dt="2022-05-16T09:04:46.923" v="2287" actId="2696"/>
          <pc:sldLayoutMkLst>
            <pc:docMk/>
            <pc:sldMasterMk cId="2418306645" sldId="2147483782"/>
            <pc:sldLayoutMk cId="1739981526" sldId="2147484038"/>
          </pc:sldLayoutMkLst>
        </pc:sldLayoutChg>
        <pc:sldLayoutChg chg="del">
          <pc:chgData name="Michael Tull" userId="9b84a4a9-44d8-4d28-b1a8-900a431bc43d" providerId="ADAL" clId="{A04BA11E-879C-4F61-84D5-446AB79F79BC}" dt="2022-05-16T09:04:46.923" v="2288" actId="2696"/>
          <pc:sldLayoutMkLst>
            <pc:docMk/>
            <pc:sldMasterMk cId="2418306645" sldId="2147483782"/>
            <pc:sldLayoutMk cId="1978046547" sldId="2147484042"/>
          </pc:sldLayoutMkLst>
        </pc:sldLayoutChg>
        <pc:sldLayoutChg chg="del">
          <pc:chgData name="Michael Tull" userId="9b84a4a9-44d8-4d28-b1a8-900a431bc43d" providerId="ADAL" clId="{A04BA11E-879C-4F61-84D5-446AB79F79BC}" dt="2022-05-16T09:04:46.946" v="2289" actId="2696"/>
          <pc:sldLayoutMkLst>
            <pc:docMk/>
            <pc:sldMasterMk cId="2418306645" sldId="2147483782"/>
            <pc:sldLayoutMk cId="91879531" sldId="2147484043"/>
          </pc:sldLayoutMkLst>
        </pc:sldLayoutChg>
        <pc:sldLayoutChg chg="del">
          <pc:chgData name="Michael Tull" userId="9b84a4a9-44d8-4d28-b1a8-900a431bc43d" providerId="ADAL" clId="{A04BA11E-879C-4F61-84D5-446AB79F79BC}" dt="2022-05-16T09:04:46.946" v="2290" actId="2696"/>
          <pc:sldLayoutMkLst>
            <pc:docMk/>
            <pc:sldMasterMk cId="2418306645" sldId="2147483782"/>
            <pc:sldLayoutMk cId="78673833" sldId="2147484044"/>
          </pc:sldLayoutMkLst>
        </pc:sldLayoutChg>
        <pc:sldLayoutChg chg="del">
          <pc:chgData name="Michael Tull" userId="9b84a4a9-44d8-4d28-b1a8-900a431bc43d" providerId="ADAL" clId="{A04BA11E-879C-4F61-84D5-446AB79F79BC}" dt="2022-05-16T09:04:46.687" v="2271" actId="2696"/>
          <pc:sldLayoutMkLst>
            <pc:docMk/>
            <pc:sldMasterMk cId="2418306645" sldId="2147483782"/>
            <pc:sldLayoutMk cId="1201089979" sldId="2147484049"/>
          </pc:sldLayoutMkLst>
        </pc:sldLayoutChg>
        <pc:sldLayoutChg chg="del">
          <pc:chgData name="Michael Tull" userId="9b84a4a9-44d8-4d28-b1a8-900a431bc43d" providerId="ADAL" clId="{A04BA11E-879C-4F61-84D5-446AB79F79BC}" dt="2022-05-16T09:04:46.700" v="2272" actId="2696"/>
          <pc:sldLayoutMkLst>
            <pc:docMk/>
            <pc:sldMasterMk cId="2418306645" sldId="2147483782"/>
            <pc:sldLayoutMk cId="1883747503" sldId="2147484050"/>
          </pc:sldLayoutMkLst>
        </pc:sldLayoutChg>
        <pc:sldLayoutChg chg="del">
          <pc:chgData name="Michael Tull" userId="9b84a4a9-44d8-4d28-b1a8-900a431bc43d" providerId="ADAL" clId="{A04BA11E-879C-4F61-84D5-446AB79F79BC}" dt="2022-05-16T09:04:46.907" v="2286" actId="2696"/>
          <pc:sldLayoutMkLst>
            <pc:docMk/>
            <pc:sldMasterMk cId="2418306645" sldId="2147483782"/>
            <pc:sldLayoutMk cId="263920966" sldId="2147484053"/>
          </pc:sldLayoutMkLst>
        </pc:sldLayoutChg>
      </pc:sldMasterChg>
      <pc:sldMasterChg chg="delSldLayout">
        <pc:chgData name="Michael Tull" userId="9b84a4a9-44d8-4d28-b1a8-900a431bc43d" providerId="ADAL" clId="{A04BA11E-879C-4F61-84D5-446AB79F79BC}" dt="2022-05-13T11:38:24.077" v="557" actId="47"/>
        <pc:sldMasterMkLst>
          <pc:docMk/>
          <pc:sldMasterMk cId="2418306645" sldId="2147483824"/>
        </pc:sldMasterMkLst>
        <pc:sldLayoutChg chg="del">
          <pc:chgData name="Michael Tull" userId="9b84a4a9-44d8-4d28-b1a8-900a431bc43d" providerId="ADAL" clId="{A04BA11E-879C-4F61-84D5-446AB79F79BC}" dt="2022-05-13T11:36:04.271" v="458" actId="47"/>
          <pc:sldLayoutMkLst>
            <pc:docMk/>
            <pc:sldMasterMk cId="2418306645" sldId="2147483824"/>
            <pc:sldLayoutMk cId="4132293092" sldId="2147484082"/>
          </pc:sldLayoutMkLst>
        </pc:sldLayoutChg>
        <pc:sldLayoutChg chg="del">
          <pc:chgData name="Michael Tull" userId="9b84a4a9-44d8-4d28-b1a8-900a431bc43d" providerId="ADAL" clId="{A04BA11E-879C-4F61-84D5-446AB79F79BC}" dt="2022-05-13T11:38:24.077" v="557" actId="47"/>
          <pc:sldLayoutMkLst>
            <pc:docMk/>
            <pc:sldMasterMk cId="2418306645" sldId="2147483824"/>
            <pc:sldLayoutMk cId="2677713922" sldId="2147484083"/>
          </pc:sldLayoutMkLst>
        </pc:sldLayoutChg>
      </pc:sldMasterChg>
      <pc:sldMasterChg chg="del delSldLayout">
        <pc:chgData name="Michael Tull" userId="9b84a4a9-44d8-4d28-b1a8-900a431bc43d" providerId="ADAL" clId="{A04BA11E-879C-4F61-84D5-446AB79F79BC}" dt="2022-05-16T09:04:52.530" v="2302" actId="2696"/>
        <pc:sldMasterMkLst>
          <pc:docMk/>
          <pc:sldMasterMk cId="2418306645" sldId="2147483891"/>
        </pc:sldMasterMkLst>
        <pc:sldLayoutChg chg="del">
          <pc:chgData name="Michael Tull" userId="9b84a4a9-44d8-4d28-b1a8-900a431bc43d" providerId="ADAL" clId="{A04BA11E-879C-4F61-84D5-446AB79F79BC}" dt="2022-05-16T09:04:52.495" v="2299" actId="2696"/>
          <pc:sldLayoutMkLst>
            <pc:docMk/>
            <pc:sldMasterMk cId="2418306645" sldId="2147483891"/>
            <pc:sldLayoutMk cId="1502766035" sldId="2147483713"/>
          </pc:sldLayoutMkLst>
        </pc:sldLayoutChg>
        <pc:sldLayoutChg chg="del">
          <pc:chgData name="Michael Tull" userId="9b84a4a9-44d8-4d28-b1a8-900a431bc43d" providerId="ADAL" clId="{A04BA11E-879C-4F61-84D5-446AB79F79BC}" dt="2022-05-16T09:04:52.505" v="2301" actId="2696"/>
          <pc:sldLayoutMkLst>
            <pc:docMk/>
            <pc:sldMasterMk cId="2418306645" sldId="2147483891"/>
            <pc:sldLayoutMk cId="1502766035" sldId="2147483714"/>
          </pc:sldLayoutMkLst>
        </pc:sldLayoutChg>
        <pc:sldLayoutChg chg="del">
          <pc:chgData name="Michael Tull" userId="9b84a4a9-44d8-4d28-b1a8-900a431bc43d" providerId="ADAL" clId="{A04BA11E-879C-4F61-84D5-446AB79F79BC}" dt="2022-05-16T09:04:52.495" v="2300" actId="2696"/>
          <pc:sldLayoutMkLst>
            <pc:docMk/>
            <pc:sldMasterMk cId="2418306645" sldId="2147483891"/>
            <pc:sldLayoutMk cId="615470752" sldId="2147484048"/>
          </pc:sldLayoutMkLst>
        </pc:sldLayoutChg>
      </pc:sldMasterChg>
      <pc:sldMasterChg chg="add del addSldLayout delSldLayout">
        <pc:chgData name="Michael Tull" userId="9b84a4a9-44d8-4d28-b1a8-900a431bc43d" providerId="ADAL" clId="{A04BA11E-879C-4F61-84D5-446AB79F79BC}" dt="2022-05-16T09:05:35.816" v="2459" actId="2696"/>
        <pc:sldMasterMkLst>
          <pc:docMk/>
          <pc:sldMasterMk cId="2418306645" sldId="2147483894"/>
        </pc:sldMasterMkLst>
        <pc:sldLayoutChg chg="add del">
          <pc:chgData name="Michael Tull" userId="9b84a4a9-44d8-4d28-b1a8-900a431bc43d" providerId="ADAL" clId="{A04BA11E-879C-4F61-84D5-446AB79F79BC}" dt="2022-05-16T09:05:35.816" v="2459" actId="2696"/>
          <pc:sldLayoutMkLst>
            <pc:docMk/>
            <pc:sldMasterMk cId="2418306645" sldId="2147483894"/>
            <pc:sldLayoutMk cId="1502766035" sldId="2147483728"/>
          </pc:sldLayoutMkLst>
        </pc:sldLayoutChg>
        <pc:sldLayoutChg chg="add del">
          <pc:chgData name="Michael Tull" userId="9b84a4a9-44d8-4d28-b1a8-900a431bc43d" providerId="ADAL" clId="{A04BA11E-879C-4F61-84D5-446AB79F79BC}" dt="2022-05-16T09:05:35.806" v="2458" actId="2696"/>
          <pc:sldLayoutMkLst>
            <pc:docMk/>
            <pc:sldMasterMk cId="2418306645" sldId="2147483894"/>
            <pc:sldLayoutMk cId="1502766035" sldId="2147483729"/>
          </pc:sldLayoutMkLst>
        </pc:sldLayoutChg>
        <pc:sldLayoutChg chg="add del">
          <pc:chgData name="Michael Tull" userId="9b84a4a9-44d8-4d28-b1a8-900a431bc43d" providerId="ADAL" clId="{A04BA11E-879C-4F61-84D5-446AB79F79BC}" dt="2022-05-16T09:05:35.790" v="2457" actId="2696"/>
          <pc:sldLayoutMkLst>
            <pc:docMk/>
            <pc:sldMasterMk cId="2418306645" sldId="2147483894"/>
            <pc:sldLayoutMk cId="1502766035" sldId="2147483730"/>
          </pc:sldLayoutMkLst>
        </pc:sldLayoutChg>
        <pc:sldLayoutChg chg="add del">
          <pc:chgData name="Michael Tull" userId="9b84a4a9-44d8-4d28-b1a8-900a431bc43d" providerId="ADAL" clId="{A04BA11E-879C-4F61-84D5-446AB79F79BC}" dt="2022-05-16T09:05:35.743" v="2454" actId="2696"/>
          <pc:sldLayoutMkLst>
            <pc:docMk/>
            <pc:sldMasterMk cId="2418306645" sldId="2147483894"/>
            <pc:sldLayoutMk cId="1502766035" sldId="2147483731"/>
          </pc:sldLayoutMkLst>
        </pc:sldLayoutChg>
        <pc:sldLayoutChg chg="add del">
          <pc:chgData name="Michael Tull" userId="9b84a4a9-44d8-4d28-b1a8-900a431bc43d" providerId="ADAL" clId="{A04BA11E-879C-4F61-84D5-446AB79F79BC}" dt="2022-05-16T09:05:35.758" v="2455" actId="2696"/>
          <pc:sldLayoutMkLst>
            <pc:docMk/>
            <pc:sldMasterMk cId="2418306645" sldId="2147483894"/>
            <pc:sldLayoutMk cId="1546427359" sldId="2147483922"/>
          </pc:sldLayoutMkLst>
        </pc:sldLayoutChg>
        <pc:sldLayoutChg chg="add del">
          <pc:chgData name="Michael Tull" userId="9b84a4a9-44d8-4d28-b1a8-900a431bc43d" providerId="ADAL" clId="{A04BA11E-879C-4F61-84D5-446AB79F79BC}" dt="2022-05-16T09:05:35.774" v="2456" actId="2696"/>
          <pc:sldLayoutMkLst>
            <pc:docMk/>
            <pc:sldMasterMk cId="2418306645" sldId="2147483894"/>
            <pc:sldLayoutMk cId="2085187937" sldId="2147483923"/>
          </pc:sldLayoutMkLst>
        </pc:sldLayoutChg>
      </pc:sldMasterChg>
      <pc:sldMasterChg chg="add del addSldLayout delSldLayout">
        <pc:chgData name="Michael Tull" userId="9b84a4a9-44d8-4d28-b1a8-900a431bc43d" providerId="ADAL" clId="{A04BA11E-879C-4F61-84D5-446AB79F79BC}" dt="2022-05-16T09:05:35.724" v="2452" actId="2696"/>
        <pc:sldMasterMkLst>
          <pc:docMk/>
          <pc:sldMasterMk cId="2418306645" sldId="2147483895"/>
        </pc:sldMasterMkLst>
        <pc:sldLayoutChg chg="add del">
          <pc:chgData name="Michael Tull" userId="9b84a4a9-44d8-4d28-b1a8-900a431bc43d" providerId="ADAL" clId="{A04BA11E-879C-4F61-84D5-446AB79F79BC}" dt="2022-05-16T09:05:35.724" v="2452" actId="2696"/>
          <pc:sldLayoutMkLst>
            <pc:docMk/>
            <pc:sldMasterMk cId="2418306645" sldId="2147483895"/>
            <pc:sldLayoutMk cId="2392790230" sldId="2147483732"/>
          </pc:sldLayoutMkLst>
        </pc:sldLayoutChg>
        <pc:sldLayoutChg chg="add del">
          <pc:chgData name="Michael Tull" userId="9b84a4a9-44d8-4d28-b1a8-900a431bc43d" providerId="ADAL" clId="{A04BA11E-879C-4F61-84D5-446AB79F79BC}" dt="2022-05-16T09:05:35.687" v="2449" actId="2696"/>
          <pc:sldLayoutMkLst>
            <pc:docMk/>
            <pc:sldMasterMk cId="2418306645" sldId="2147483895"/>
            <pc:sldLayoutMk cId="2392790230" sldId="2147483733"/>
          </pc:sldLayoutMkLst>
        </pc:sldLayoutChg>
        <pc:sldLayoutChg chg="add del">
          <pc:chgData name="Michael Tull" userId="9b84a4a9-44d8-4d28-b1a8-900a431bc43d" providerId="ADAL" clId="{A04BA11E-879C-4F61-84D5-446AB79F79BC}" dt="2022-05-16T09:05:35.672" v="2448" actId="2696"/>
          <pc:sldLayoutMkLst>
            <pc:docMk/>
            <pc:sldMasterMk cId="2418306645" sldId="2147483895"/>
            <pc:sldLayoutMk cId="2392790230" sldId="2147483734"/>
          </pc:sldLayoutMkLst>
        </pc:sldLayoutChg>
        <pc:sldLayoutChg chg="add del">
          <pc:chgData name="Michael Tull" userId="9b84a4a9-44d8-4d28-b1a8-900a431bc43d" providerId="ADAL" clId="{A04BA11E-879C-4F61-84D5-446AB79F79BC}" dt="2022-05-16T09:05:35.709" v="2450" actId="2696"/>
          <pc:sldLayoutMkLst>
            <pc:docMk/>
            <pc:sldMasterMk cId="2418306645" sldId="2147483895"/>
            <pc:sldLayoutMk cId="113188240" sldId="2147483737"/>
          </pc:sldLayoutMkLst>
        </pc:sldLayoutChg>
        <pc:sldLayoutChg chg="add del">
          <pc:chgData name="Michael Tull" userId="9b84a4a9-44d8-4d28-b1a8-900a431bc43d" providerId="ADAL" clId="{A04BA11E-879C-4F61-84D5-446AB79F79BC}" dt="2022-05-16T09:05:35.709" v="2451" actId="2696"/>
          <pc:sldLayoutMkLst>
            <pc:docMk/>
            <pc:sldMasterMk cId="2418306645" sldId="2147483895"/>
            <pc:sldLayoutMk cId="2876085002" sldId="2147483738"/>
          </pc:sldLayoutMkLst>
        </pc:sldLayoutChg>
      </pc:sldMasterChg>
      <pc:sldMasterChg chg="add del addSldLayout delSldLayout">
        <pc:chgData name="Michael Tull" userId="9b84a4a9-44d8-4d28-b1a8-900a431bc43d" providerId="ADAL" clId="{A04BA11E-879C-4F61-84D5-446AB79F79BC}" dt="2022-05-16T09:05:35.656" v="2446" actId="2696"/>
        <pc:sldMasterMkLst>
          <pc:docMk/>
          <pc:sldMasterMk cId="2418306645" sldId="2147483899"/>
        </pc:sldMasterMkLst>
        <pc:sldLayoutChg chg="add del">
          <pc:chgData name="Michael Tull" userId="9b84a4a9-44d8-4d28-b1a8-900a431bc43d" providerId="ADAL" clId="{A04BA11E-879C-4F61-84D5-446AB79F79BC}" dt="2022-05-16T09:05:35.656" v="2446" actId="2696"/>
          <pc:sldLayoutMkLst>
            <pc:docMk/>
            <pc:sldMasterMk cId="2418306645" sldId="2147483899"/>
            <pc:sldLayoutMk cId="997457662" sldId="2147483955"/>
          </pc:sldLayoutMkLst>
        </pc:sldLayoutChg>
        <pc:sldLayoutChg chg="add del">
          <pc:chgData name="Michael Tull" userId="9b84a4a9-44d8-4d28-b1a8-900a431bc43d" providerId="ADAL" clId="{A04BA11E-879C-4F61-84D5-446AB79F79BC}" dt="2022-05-16T09:05:35.640" v="2445" actId="2696"/>
          <pc:sldLayoutMkLst>
            <pc:docMk/>
            <pc:sldMasterMk cId="2418306645" sldId="2147483899"/>
            <pc:sldLayoutMk cId="1021738" sldId="2147483956"/>
          </pc:sldLayoutMkLst>
        </pc:sldLayoutChg>
        <pc:sldLayoutChg chg="add del">
          <pc:chgData name="Michael Tull" userId="9b84a4a9-44d8-4d28-b1a8-900a431bc43d" providerId="ADAL" clId="{A04BA11E-879C-4F61-84D5-446AB79F79BC}" dt="2022-05-16T09:05:35.624" v="2444" actId="2696"/>
          <pc:sldLayoutMkLst>
            <pc:docMk/>
            <pc:sldMasterMk cId="2418306645" sldId="2147483899"/>
            <pc:sldLayoutMk cId="288785093" sldId="2147483957"/>
          </pc:sldLayoutMkLst>
        </pc:sldLayoutChg>
        <pc:sldLayoutChg chg="add del">
          <pc:chgData name="Michael Tull" userId="9b84a4a9-44d8-4d28-b1a8-900a431bc43d" providerId="ADAL" clId="{A04BA11E-879C-4F61-84D5-446AB79F79BC}" dt="2022-05-16T09:05:35.609" v="2443" actId="2696"/>
          <pc:sldLayoutMkLst>
            <pc:docMk/>
            <pc:sldMasterMk cId="2418306645" sldId="2147483899"/>
            <pc:sldLayoutMk cId="368111061" sldId="2147483958"/>
          </pc:sldLayoutMkLst>
        </pc:sldLayoutChg>
      </pc:sldMasterChg>
      <pc:sldMasterChg chg="del delSldLayout">
        <pc:chgData name="Michael Tull" userId="9b84a4a9-44d8-4d28-b1a8-900a431bc43d" providerId="ADAL" clId="{A04BA11E-879C-4F61-84D5-446AB79F79BC}" dt="2022-05-16T09:04:47.762" v="2297" actId="2696"/>
        <pc:sldMasterMkLst>
          <pc:docMk/>
          <pc:sldMasterMk cId="1802880744" sldId="2147483954"/>
        </pc:sldMasterMkLst>
        <pc:sldLayoutChg chg="del">
          <pc:chgData name="Michael Tull" userId="9b84a4a9-44d8-4d28-b1a8-900a431bc43d" providerId="ADAL" clId="{A04BA11E-879C-4F61-84D5-446AB79F79BC}" dt="2022-05-16T09:04:47.661" v="2292" actId="2696"/>
          <pc:sldLayoutMkLst>
            <pc:docMk/>
            <pc:sldMasterMk cId="1802880744" sldId="2147483954"/>
            <pc:sldLayoutMk cId="1115222076" sldId="2147483705"/>
          </pc:sldLayoutMkLst>
        </pc:sldLayoutChg>
        <pc:sldLayoutChg chg="del">
          <pc:chgData name="Michael Tull" userId="9b84a4a9-44d8-4d28-b1a8-900a431bc43d" providerId="ADAL" clId="{A04BA11E-879C-4F61-84D5-446AB79F79BC}" dt="2022-05-16T09:04:47.690" v="2293" actId="2696"/>
          <pc:sldLayoutMkLst>
            <pc:docMk/>
            <pc:sldMasterMk cId="1802880744" sldId="2147483954"/>
            <pc:sldLayoutMk cId="4079039305" sldId="2147483708"/>
          </pc:sldLayoutMkLst>
        </pc:sldLayoutChg>
        <pc:sldLayoutChg chg="del">
          <pc:chgData name="Michael Tull" userId="9b84a4a9-44d8-4d28-b1a8-900a431bc43d" providerId="ADAL" clId="{A04BA11E-879C-4F61-84D5-446AB79F79BC}" dt="2022-05-16T09:04:47.711" v="2294" actId="2696"/>
          <pc:sldLayoutMkLst>
            <pc:docMk/>
            <pc:sldMasterMk cId="1802880744" sldId="2147483954"/>
            <pc:sldLayoutMk cId="2392790230" sldId="2147483709"/>
          </pc:sldLayoutMkLst>
        </pc:sldLayoutChg>
        <pc:sldLayoutChg chg="del">
          <pc:chgData name="Michael Tull" userId="9b84a4a9-44d8-4d28-b1a8-900a431bc43d" providerId="ADAL" clId="{A04BA11E-879C-4F61-84D5-446AB79F79BC}" dt="2022-05-16T09:04:47.722" v="2295" actId="2696"/>
          <pc:sldLayoutMkLst>
            <pc:docMk/>
            <pc:sldMasterMk cId="1802880744" sldId="2147483954"/>
            <pc:sldLayoutMk cId="2392790230" sldId="2147483710"/>
          </pc:sldLayoutMkLst>
        </pc:sldLayoutChg>
        <pc:sldLayoutChg chg="del">
          <pc:chgData name="Michael Tull" userId="9b84a4a9-44d8-4d28-b1a8-900a431bc43d" providerId="ADAL" clId="{A04BA11E-879C-4F61-84D5-446AB79F79BC}" dt="2022-05-16T09:04:47.742" v="2296" actId="2696"/>
          <pc:sldLayoutMkLst>
            <pc:docMk/>
            <pc:sldMasterMk cId="1802880744" sldId="2147483954"/>
            <pc:sldLayoutMk cId="2392790230" sldId="2147483711"/>
          </pc:sldLayoutMkLst>
        </pc:sldLayoutChg>
      </pc:sldMasterChg>
      <pc:sldMasterChg chg="add del addSldLayout delSldLayout">
        <pc:chgData name="Michael Tull" userId="9b84a4a9-44d8-4d28-b1a8-900a431bc43d" providerId="ADAL" clId="{A04BA11E-879C-4F61-84D5-446AB79F79BC}" dt="2022-05-16T09:05:35.587" v="2441" actId="2696"/>
        <pc:sldMasterMkLst>
          <pc:docMk/>
          <pc:sldMasterMk cId="1678919422" sldId="2147483996"/>
        </pc:sldMasterMkLst>
        <pc:sldLayoutChg chg="add del">
          <pc:chgData name="Michael Tull" userId="9b84a4a9-44d8-4d28-b1a8-900a431bc43d" providerId="ADAL" clId="{A04BA11E-879C-4F61-84D5-446AB79F79BC}" dt="2022-05-16T09:05:35.587" v="2441" actId="2696"/>
          <pc:sldLayoutMkLst>
            <pc:docMk/>
            <pc:sldMasterMk cId="1678919422" sldId="2147483996"/>
            <pc:sldLayoutMk cId="1401138571" sldId="2147484012"/>
          </pc:sldLayoutMkLst>
        </pc:sldLayoutChg>
        <pc:sldLayoutChg chg="add del">
          <pc:chgData name="Michael Tull" userId="9b84a4a9-44d8-4d28-b1a8-900a431bc43d" providerId="ADAL" clId="{A04BA11E-879C-4F61-84D5-446AB79F79BC}" dt="2022-05-16T09:05:35.571" v="2440" actId="2696"/>
          <pc:sldLayoutMkLst>
            <pc:docMk/>
            <pc:sldMasterMk cId="1678919422" sldId="2147483996"/>
            <pc:sldLayoutMk cId="1718880114" sldId="2147484013"/>
          </pc:sldLayoutMkLst>
        </pc:sldLayoutChg>
        <pc:sldLayoutChg chg="add del">
          <pc:chgData name="Michael Tull" userId="9b84a4a9-44d8-4d28-b1a8-900a431bc43d" providerId="ADAL" clId="{A04BA11E-879C-4F61-84D5-446AB79F79BC}" dt="2022-05-16T09:05:35.571" v="2439" actId="2696"/>
          <pc:sldLayoutMkLst>
            <pc:docMk/>
            <pc:sldMasterMk cId="1678919422" sldId="2147483996"/>
            <pc:sldLayoutMk cId="741169873" sldId="2147484014"/>
          </pc:sldLayoutMkLst>
        </pc:sldLayoutChg>
        <pc:sldLayoutChg chg="add del">
          <pc:chgData name="Michael Tull" userId="9b84a4a9-44d8-4d28-b1a8-900a431bc43d" providerId="ADAL" clId="{A04BA11E-879C-4F61-84D5-446AB79F79BC}" dt="2022-05-16T09:05:35.556" v="2438" actId="2696"/>
          <pc:sldLayoutMkLst>
            <pc:docMk/>
            <pc:sldMasterMk cId="1678919422" sldId="2147483996"/>
            <pc:sldLayoutMk cId="1327202291" sldId="2147484015"/>
          </pc:sldLayoutMkLst>
        </pc:sldLayoutChg>
        <pc:sldLayoutChg chg="add del">
          <pc:chgData name="Michael Tull" userId="9b84a4a9-44d8-4d28-b1a8-900a431bc43d" providerId="ADAL" clId="{A04BA11E-879C-4F61-84D5-446AB79F79BC}" dt="2022-05-16T09:05:35.524" v="2435" actId="2696"/>
          <pc:sldLayoutMkLst>
            <pc:docMk/>
            <pc:sldMasterMk cId="1678919422" sldId="2147483996"/>
            <pc:sldLayoutMk cId="1011239534" sldId="2147484016"/>
          </pc:sldLayoutMkLst>
        </pc:sldLayoutChg>
        <pc:sldLayoutChg chg="add del">
          <pc:chgData name="Michael Tull" userId="9b84a4a9-44d8-4d28-b1a8-900a431bc43d" providerId="ADAL" clId="{A04BA11E-879C-4F61-84D5-446AB79F79BC}" dt="2022-05-16T09:05:35.509" v="2434" actId="2696"/>
          <pc:sldLayoutMkLst>
            <pc:docMk/>
            <pc:sldMasterMk cId="1678919422" sldId="2147483996"/>
            <pc:sldLayoutMk cId="1522259670" sldId="2147484017"/>
          </pc:sldLayoutMkLst>
        </pc:sldLayoutChg>
        <pc:sldLayoutChg chg="add del">
          <pc:chgData name="Michael Tull" userId="9b84a4a9-44d8-4d28-b1a8-900a431bc43d" providerId="ADAL" clId="{A04BA11E-879C-4F61-84D5-446AB79F79BC}" dt="2022-05-16T09:05:35.497" v="2433" actId="2696"/>
          <pc:sldLayoutMkLst>
            <pc:docMk/>
            <pc:sldMasterMk cId="1678919422" sldId="2147483996"/>
            <pc:sldLayoutMk cId="1946370636" sldId="2147484018"/>
          </pc:sldLayoutMkLst>
        </pc:sldLayoutChg>
        <pc:sldLayoutChg chg="add del">
          <pc:chgData name="Michael Tull" userId="9b84a4a9-44d8-4d28-b1a8-900a431bc43d" providerId="ADAL" clId="{A04BA11E-879C-4F61-84D5-446AB79F79BC}" dt="2022-05-16T09:05:35.481" v="2432" actId="2696"/>
          <pc:sldLayoutMkLst>
            <pc:docMk/>
            <pc:sldMasterMk cId="1678919422" sldId="2147483996"/>
            <pc:sldLayoutMk cId="2151868" sldId="2147484019"/>
          </pc:sldLayoutMkLst>
        </pc:sldLayoutChg>
        <pc:sldLayoutChg chg="add del">
          <pc:chgData name="Michael Tull" userId="9b84a4a9-44d8-4d28-b1a8-900a431bc43d" providerId="ADAL" clId="{A04BA11E-879C-4F61-84D5-446AB79F79BC}" dt="2022-05-16T09:05:35.540" v="2437" actId="2696"/>
          <pc:sldLayoutMkLst>
            <pc:docMk/>
            <pc:sldMasterMk cId="1678919422" sldId="2147483996"/>
            <pc:sldLayoutMk cId="10224169" sldId="2147484025"/>
          </pc:sldLayoutMkLst>
        </pc:sldLayoutChg>
        <pc:sldLayoutChg chg="add del">
          <pc:chgData name="Michael Tull" userId="9b84a4a9-44d8-4d28-b1a8-900a431bc43d" providerId="ADAL" clId="{A04BA11E-879C-4F61-84D5-446AB79F79BC}" dt="2022-05-16T09:05:35.540" v="2436" actId="2696"/>
          <pc:sldLayoutMkLst>
            <pc:docMk/>
            <pc:sldMasterMk cId="1678919422" sldId="2147483996"/>
            <pc:sldLayoutMk cId="678498174" sldId="2147484026"/>
          </pc:sldLayoutMkLst>
        </pc:sldLayoutChg>
        <pc:sldLayoutChg chg="add del">
          <pc:chgData name="Michael Tull" userId="9b84a4a9-44d8-4d28-b1a8-900a431bc43d" providerId="ADAL" clId="{A04BA11E-879C-4F61-84D5-446AB79F79BC}" dt="2022-05-16T09:05:35.481" v="2431" actId="2696"/>
          <pc:sldLayoutMkLst>
            <pc:docMk/>
            <pc:sldMasterMk cId="1678919422" sldId="2147483996"/>
            <pc:sldLayoutMk cId="117083117" sldId="2147484033"/>
          </pc:sldLayoutMkLst>
        </pc:sldLayoutChg>
      </pc:sldMasterChg>
      <pc:sldMasterChg chg="add del addSldLayout delSldLayout">
        <pc:chgData name="Michael Tull" userId="9b84a4a9-44d8-4d28-b1a8-900a431bc43d" providerId="ADAL" clId="{A04BA11E-879C-4F61-84D5-446AB79F79BC}" dt="2022-05-16T09:05:35.450" v="2429" actId="2696"/>
        <pc:sldMasterMkLst>
          <pc:docMk/>
          <pc:sldMasterMk cId="823764720" sldId="2147484010"/>
        </pc:sldMasterMkLst>
        <pc:sldLayoutChg chg="add del">
          <pc:chgData name="Michael Tull" userId="9b84a4a9-44d8-4d28-b1a8-900a431bc43d" providerId="ADAL" clId="{A04BA11E-879C-4F61-84D5-446AB79F79BC}" dt="2022-05-16T09:05:35.450" v="2429" actId="2696"/>
          <pc:sldLayoutMkLst>
            <pc:docMk/>
            <pc:sldMasterMk cId="823764720" sldId="2147484010"/>
            <pc:sldLayoutMk cId="0" sldId="2147484011"/>
          </pc:sldLayoutMkLst>
        </pc:sldLayoutChg>
      </pc:sldMasterChg>
      <pc:sldMasterChg chg="add del addSldLayout delSldLayout">
        <pc:chgData name="Michael Tull" userId="9b84a4a9-44d8-4d28-b1a8-900a431bc43d" providerId="ADAL" clId="{A04BA11E-879C-4F61-84D5-446AB79F79BC}" dt="2022-05-16T09:05:20.154" v="2400" actId="2696"/>
        <pc:sldMasterMkLst>
          <pc:docMk/>
          <pc:sldMasterMk cId="2143454130" sldId="2147484120"/>
        </pc:sldMasterMkLst>
        <pc:sldLayoutChg chg="add del">
          <pc:chgData name="Michael Tull" userId="9b84a4a9-44d8-4d28-b1a8-900a431bc43d" providerId="ADAL" clId="{A04BA11E-879C-4F61-84D5-446AB79F79BC}" dt="2022-05-16T09:05:20.154" v="2400" actId="2696"/>
          <pc:sldLayoutMkLst>
            <pc:docMk/>
            <pc:sldMasterMk cId="2143454130" sldId="2147484120"/>
            <pc:sldLayoutMk cId="2249822900" sldId="2147484121"/>
          </pc:sldLayoutMkLst>
        </pc:sldLayoutChg>
        <pc:sldLayoutChg chg="add del">
          <pc:chgData name="Michael Tull" userId="9b84a4a9-44d8-4d28-b1a8-900a431bc43d" providerId="ADAL" clId="{A04BA11E-879C-4F61-84D5-446AB79F79BC}" dt="2022-05-16T09:05:20.138" v="2399" actId="2696"/>
          <pc:sldLayoutMkLst>
            <pc:docMk/>
            <pc:sldMasterMk cId="2143454130" sldId="2147484120"/>
            <pc:sldLayoutMk cId="4189460658" sldId="2147484122"/>
          </pc:sldLayoutMkLst>
        </pc:sldLayoutChg>
        <pc:sldLayoutChg chg="add del">
          <pc:chgData name="Michael Tull" userId="9b84a4a9-44d8-4d28-b1a8-900a431bc43d" providerId="ADAL" clId="{A04BA11E-879C-4F61-84D5-446AB79F79BC}" dt="2022-05-16T09:05:20.129" v="2398" actId="2696"/>
          <pc:sldLayoutMkLst>
            <pc:docMk/>
            <pc:sldMasterMk cId="2143454130" sldId="2147484120"/>
            <pc:sldLayoutMk cId="2233364633" sldId="2147484123"/>
          </pc:sldLayoutMkLst>
        </pc:sldLayoutChg>
        <pc:sldLayoutChg chg="add del">
          <pc:chgData name="Michael Tull" userId="9b84a4a9-44d8-4d28-b1a8-900a431bc43d" providerId="ADAL" clId="{A04BA11E-879C-4F61-84D5-446AB79F79BC}" dt="2022-05-16T09:05:20.117" v="2397" actId="2696"/>
          <pc:sldLayoutMkLst>
            <pc:docMk/>
            <pc:sldMasterMk cId="2143454130" sldId="2147484120"/>
            <pc:sldLayoutMk cId="3543032803" sldId="2147484124"/>
          </pc:sldLayoutMkLst>
        </pc:sldLayoutChg>
        <pc:sldLayoutChg chg="add del">
          <pc:chgData name="Michael Tull" userId="9b84a4a9-44d8-4d28-b1a8-900a431bc43d" providerId="ADAL" clId="{A04BA11E-879C-4F61-84D5-446AB79F79BC}" dt="2022-05-16T09:05:20.102" v="2396" actId="2696"/>
          <pc:sldLayoutMkLst>
            <pc:docMk/>
            <pc:sldMasterMk cId="2143454130" sldId="2147484120"/>
            <pc:sldLayoutMk cId="2407018237" sldId="2147484125"/>
          </pc:sldLayoutMkLst>
        </pc:sldLayoutChg>
        <pc:sldLayoutChg chg="add del">
          <pc:chgData name="Michael Tull" userId="9b84a4a9-44d8-4d28-b1a8-900a431bc43d" providerId="ADAL" clId="{A04BA11E-879C-4F61-84D5-446AB79F79BC}" dt="2022-05-16T09:05:20.086" v="2395" actId="2696"/>
          <pc:sldLayoutMkLst>
            <pc:docMk/>
            <pc:sldMasterMk cId="2143454130" sldId="2147484120"/>
            <pc:sldLayoutMk cId="2181953084" sldId="2147484126"/>
          </pc:sldLayoutMkLst>
        </pc:sldLayoutChg>
        <pc:sldLayoutChg chg="add del">
          <pc:chgData name="Michael Tull" userId="9b84a4a9-44d8-4d28-b1a8-900a431bc43d" providerId="ADAL" clId="{A04BA11E-879C-4F61-84D5-446AB79F79BC}" dt="2022-05-16T09:05:20.086" v="2394" actId="2696"/>
          <pc:sldLayoutMkLst>
            <pc:docMk/>
            <pc:sldMasterMk cId="2143454130" sldId="2147484120"/>
            <pc:sldLayoutMk cId="2375087396" sldId="2147484127"/>
          </pc:sldLayoutMkLst>
        </pc:sldLayoutChg>
        <pc:sldLayoutChg chg="add del">
          <pc:chgData name="Michael Tull" userId="9b84a4a9-44d8-4d28-b1a8-900a431bc43d" providerId="ADAL" clId="{A04BA11E-879C-4F61-84D5-446AB79F79BC}" dt="2022-05-16T09:05:20.070" v="2393" actId="2696"/>
          <pc:sldLayoutMkLst>
            <pc:docMk/>
            <pc:sldMasterMk cId="2143454130" sldId="2147484120"/>
            <pc:sldLayoutMk cId="744589601" sldId="2147484128"/>
          </pc:sldLayoutMkLst>
        </pc:sldLayoutChg>
        <pc:sldLayoutChg chg="add del">
          <pc:chgData name="Michael Tull" userId="9b84a4a9-44d8-4d28-b1a8-900a431bc43d" providerId="ADAL" clId="{A04BA11E-879C-4F61-84D5-446AB79F79BC}" dt="2022-05-16T09:05:20.070" v="2392" actId="2696"/>
          <pc:sldLayoutMkLst>
            <pc:docMk/>
            <pc:sldMasterMk cId="2143454130" sldId="2147484120"/>
            <pc:sldLayoutMk cId="824026870" sldId="2147484129"/>
          </pc:sldLayoutMkLst>
        </pc:sldLayoutChg>
        <pc:sldLayoutChg chg="add del">
          <pc:chgData name="Michael Tull" userId="9b84a4a9-44d8-4d28-b1a8-900a431bc43d" providerId="ADAL" clId="{A04BA11E-879C-4F61-84D5-446AB79F79BC}" dt="2022-05-16T09:05:20.065" v="2391" actId="2696"/>
          <pc:sldLayoutMkLst>
            <pc:docMk/>
            <pc:sldMasterMk cId="2143454130" sldId="2147484120"/>
            <pc:sldLayoutMk cId="4104909378" sldId="2147484130"/>
          </pc:sldLayoutMkLst>
        </pc:sldLayoutChg>
        <pc:sldLayoutChg chg="add del">
          <pc:chgData name="Michael Tull" userId="9b84a4a9-44d8-4d28-b1a8-900a431bc43d" providerId="ADAL" clId="{A04BA11E-879C-4F61-84D5-446AB79F79BC}" dt="2022-05-16T09:05:20.049" v="2390" actId="2696"/>
          <pc:sldLayoutMkLst>
            <pc:docMk/>
            <pc:sldMasterMk cId="2143454130" sldId="2147484120"/>
            <pc:sldLayoutMk cId="3685394945" sldId="2147484131"/>
          </pc:sldLayoutMkLst>
        </pc:sldLayoutChg>
        <pc:sldLayoutChg chg="add del">
          <pc:chgData name="Michael Tull" userId="9b84a4a9-44d8-4d28-b1a8-900a431bc43d" providerId="ADAL" clId="{A04BA11E-879C-4F61-84D5-446AB79F79BC}" dt="2022-05-16T09:05:20.034" v="2389" actId="2696"/>
          <pc:sldLayoutMkLst>
            <pc:docMk/>
            <pc:sldMasterMk cId="2143454130" sldId="2147484120"/>
            <pc:sldLayoutMk cId="3514967164" sldId="2147484132"/>
          </pc:sldLayoutMkLst>
        </pc:sldLayoutChg>
        <pc:sldLayoutChg chg="add del">
          <pc:chgData name="Michael Tull" userId="9b84a4a9-44d8-4d28-b1a8-900a431bc43d" providerId="ADAL" clId="{A04BA11E-879C-4F61-84D5-446AB79F79BC}" dt="2022-05-16T09:05:20.034" v="2388" actId="2696"/>
          <pc:sldLayoutMkLst>
            <pc:docMk/>
            <pc:sldMasterMk cId="2143454130" sldId="2147484120"/>
            <pc:sldLayoutMk cId="1924300983" sldId="2147484133"/>
          </pc:sldLayoutMkLst>
        </pc:sldLayoutChg>
        <pc:sldLayoutChg chg="add del">
          <pc:chgData name="Michael Tull" userId="9b84a4a9-44d8-4d28-b1a8-900a431bc43d" providerId="ADAL" clId="{A04BA11E-879C-4F61-84D5-446AB79F79BC}" dt="2022-05-16T09:05:20.018" v="2387" actId="2696"/>
          <pc:sldLayoutMkLst>
            <pc:docMk/>
            <pc:sldMasterMk cId="2143454130" sldId="2147484120"/>
            <pc:sldLayoutMk cId="3741429198" sldId="2147484134"/>
          </pc:sldLayoutMkLst>
        </pc:sldLayoutChg>
        <pc:sldLayoutChg chg="add del">
          <pc:chgData name="Michael Tull" userId="9b84a4a9-44d8-4d28-b1a8-900a431bc43d" providerId="ADAL" clId="{A04BA11E-879C-4F61-84D5-446AB79F79BC}" dt="2022-05-16T09:05:20.018" v="2386" actId="2696"/>
          <pc:sldLayoutMkLst>
            <pc:docMk/>
            <pc:sldMasterMk cId="2143454130" sldId="2147484120"/>
            <pc:sldLayoutMk cId="2400758619" sldId="2147484135"/>
          </pc:sldLayoutMkLst>
        </pc:sldLayoutChg>
        <pc:sldLayoutChg chg="add del">
          <pc:chgData name="Michael Tull" userId="9b84a4a9-44d8-4d28-b1a8-900a431bc43d" providerId="ADAL" clId="{A04BA11E-879C-4F61-84D5-446AB79F79BC}" dt="2022-05-16T09:05:20.003" v="2385" actId="2696"/>
          <pc:sldLayoutMkLst>
            <pc:docMk/>
            <pc:sldMasterMk cId="2143454130" sldId="2147484120"/>
            <pc:sldLayoutMk cId="1920917602" sldId="2147484136"/>
          </pc:sldLayoutMkLst>
        </pc:sldLayoutChg>
        <pc:sldLayoutChg chg="add del">
          <pc:chgData name="Michael Tull" userId="9b84a4a9-44d8-4d28-b1a8-900a431bc43d" providerId="ADAL" clId="{A04BA11E-879C-4F61-84D5-446AB79F79BC}" dt="2022-05-16T09:05:20.003" v="2384" actId="2696"/>
          <pc:sldLayoutMkLst>
            <pc:docMk/>
            <pc:sldMasterMk cId="2143454130" sldId="2147484120"/>
            <pc:sldLayoutMk cId="2994837058" sldId="2147484137"/>
          </pc:sldLayoutMkLst>
        </pc:sldLayoutChg>
        <pc:sldLayoutChg chg="add del">
          <pc:chgData name="Michael Tull" userId="9b84a4a9-44d8-4d28-b1a8-900a431bc43d" providerId="ADAL" clId="{A04BA11E-879C-4F61-84D5-446AB79F79BC}" dt="2022-05-16T09:05:19.986" v="2383" actId="2696"/>
          <pc:sldLayoutMkLst>
            <pc:docMk/>
            <pc:sldMasterMk cId="2143454130" sldId="2147484120"/>
            <pc:sldLayoutMk cId="611446643" sldId="2147484138"/>
          </pc:sldLayoutMkLst>
        </pc:sldLayoutChg>
        <pc:sldLayoutChg chg="add del">
          <pc:chgData name="Michael Tull" userId="9b84a4a9-44d8-4d28-b1a8-900a431bc43d" providerId="ADAL" clId="{A04BA11E-879C-4F61-84D5-446AB79F79BC}" dt="2022-05-16T09:05:19.986" v="2382" actId="2696"/>
          <pc:sldLayoutMkLst>
            <pc:docMk/>
            <pc:sldMasterMk cId="2143454130" sldId="2147484120"/>
            <pc:sldLayoutMk cId="3887972409" sldId="2147484139"/>
          </pc:sldLayoutMkLst>
        </pc:sldLayoutChg>
        <pc:sldLayoutChg chg="add del">
          <pc:chgData name="Michael Tull" userId="9b84a4a9-44d8-4d28-b1a8-900a431bc43d" providerId="ADAL" clId="{A04BA11E-879C-4F61-84D5-446AB79F79BC}" dt="2022-05-16T09:05:19.970" v="2381" actId="2696"/>
          <pc:sldLayoutMkLst>
            <pc:docMk/>
            <pc:sldMasterMk cId="2143454130" sldId="2147484120"/>
            <pc:sldLayoutMk cId="452448846" sldId="2147484140"/>
          </pc:sldLayoutMkLst>
        </pc:sldLayoutChg>
        <pc:sldLayoutChg chg="add del">
          <pc:chgData name="Michael Tull" userId="9b84a4a9-44d8-4d28-b1a8-900a431bc43d" providerId="ADAL" clId="{A04BA11E-879C-4F61-84D5-446AB79F79BC}" dt="2022-05-16T09:05:19.970" v="2380" actId="2696"/>
          <pc:sldLayoutMkLst>
            <pc:docMk/>
            <pc:sldMasterMk cId="2143454130" sldId="2147484120"/>
            <pc:sldLayoutMk cId="803311674" sldId="2147484141"/>
          </pc:sldLayoutMkLst>
        </pc:sldLayoutChg>
        <pc:sldLayoutChg chg="add del">
          <pc:chgData name="Michael Tull" userId="9b84a4a9-44d8-4d28-b1a8-900a431bc43d" providerId="ADAL" clId="{A04BA11E-879C-4F61-84D5-446AB79F79BC}" dt="2022-05-16T09:05:19.947" v="2379" actId="2696"/>
          <pc:sldLayoutMkLst>
            <pc:docMk/>
            <pc:sldMasterMk cId="2143454130" sldId="2147484120"/>
            <pc:sldLayoutMk cId="462277746" sldId="2147484142"/>
          </pc:sldLayoutMkLst>
        </pc:sldLayoutChg>
        <pc:sldLayoutChg chg="add del">
          <pc:chgData name="Michael Tull" userId="9b84a4a9-44d8-4d28-b1a8-900a431bc43d" providerId="ADAL" clId="{A04BA11E-879C-4F61-84D5-446AB79F79BC}" dt="2022-05-16T09:05:19.947" v="2378" actId="2696"/>
          <pc:sldLayoutMkLst>
            <pc:docMk/>
            <pc:sldMasterMk cId="2143454130" sldId="2147484120"/>
            <pc:sldLayoutMk cId="3592960651" sldId="2147484143"/>
          </pc:sldLayoutMkLst>
        </pc:sldLayoutChg>
        <pc:sldLayoutChg chg="add del">
          <pc:chgData name="Michael Tull" userId="9b84a4a9-44d8-4d28-b1a8-900a431bc43d" providerId="ADAL" clId="{A04BA11E-879C-4F61-84D5-446AB79F79BC}" dt="2022-05-16T09:05:19.931" v="2377" actId="2696"/>
          <pc:sldLayoutMkLst>
            <pc:docMk/>
            <pc:sldMasterMk cId="2143454130" sldId="2147484120"/>
            <pc:sldLayoutMk cId="2361744377" sldId="2147484144"/>
          </pc:sldLayoutMkLst>
        </pc:sldLayoutChg>
        <pc:sldLayoutChg chg="add del">
          <pc:chgData name="Michael Tull" userId="9b84a4a9-44d8-4d28-b1a8-900a431bc43d" providerId="ADAL" clId="{A04BA11E-879C-4F61-84D5-446AB79F79BC}" dt="2022-05-16T09:05:19.931" v="2376" actId="2696"/>
          <pc:sldLayoutMkLst>
            <pc:docMk/>
            <pc:sldMasterMk cId="2143454130" sldId="2147484120"/>
            <pc:sldLayoutMk cId="2196459773" sldId="2147484145"/>
          </pc:sldLayoutMkLst>
        </pc:sldLayoutChg>
        <pc:sldLayoutChg chg="del">
          <pc:chgData name="Michael Tull" userId="9b84a4a9-44d8-4d28-b1a8-900a431bc43d" providerId="ADAL" clId="{A04BA11E-879C-4F61-84D5-446AB79F79BC}" dt="2022-05-13T12:35:22.848" v="1231" actId="47"/>
          <pc:sldLayoutMkLst>
            <pc:docMk/>
            <pc:sldMasterMk cId="2143454130" sldId="2147484120"/>
            <pc:sldLayoutMk cId="872498812" sldId="2147484146"/>
          </pc:sldLayoutMkLst>
        </pc:sldLayoutChg>
        <pc:sldLayoutChg chg="add del">
          <pc:chgData name="Michael Tull" userId="9b84a4a9-44d8-4d28-b1a8-900a431bc43d" providerId="ADAL" clId="{A04BA11E-879C-4F61-84D5-446AB79F79BC}" dt="2022-05-16T09:05:19.926" v="2375" actId="2696"/>
          <pc:sldLayoutMkLst>
            <pc:docMk/>
            <pc:sldMasterMk cId="2143454130" sldId="2147484120"/>
            <pc:sldLayoutMk cId="2171038449" sldId="2147484147"/>
          </pc:sldLayoutMkLst>
        </pc:sldLayoutChg>
        <pc:sldLayoutChg chg="add del">
          <pc:chgData name="Michael Tull" userId="9b84a4a9-44d8-4d28-b1a8-900a431bc43d" providerId="ADAL" clId="{A04BA11E-879C-4F61-84D5-446AB79F79BC}" dt="2022-05-16T09:05:19.910" v="2374" actId="2696"/>
          <pc:sldLayoutMkLst>
            <pc:docMk/>
            <pc:sldMasterMk cId="2143454130" sldId="2147484120"/>
            <pc:sldLayoutMk cId="4102273794" sldId="2147484148"/>
          </pc:sldLayoutMkLst>
        </pc:sldLayoutChg>
      </pc:sldMasterChg>
      <pc:sldMasterChg chg="new del mod addSldLayout delSldLayout">
        <pc:chgData name="Michael Tull" userId="9b84a4a9-44d8-4d28-b1a8-900a431bc43d" providerId="ADAL" clId="{A04BA11E-879C-4F61-84D5-446AB79F79BC}" dt="2022-05-16T09:05:35.388" v="2424" actId="6938"/>
        <pc:sldMasterMkLst>
          <pc:docMk/>
          <pc:sldMasterMk cId="1852743877" sldId="2147484154"/>
        </pc:sldMasterMkLst>
        <pc:sldLayoutChg chg="new del replId">
          <pc:chgData name="Michael Tull" userId="9b84a4a9-44d8-4d28-b1a8-900a431bc43d" providerId="ADAL" clId="{A04BA11E-879C-4F61-84D5-446AB79F79BC}" dt="2022-05-16T09:05:35.388" v="2424" actId="6938"/>
          <pc:sldLayoutMkLst>
            <pc:docMk/>
            <pc:sldMasterMk cId="1852743877" sldId="2147484154"/>
            <pc:sldLayoutMk cId="1577816222" sldId="2147484155"/>
          </pc:sldLayoutMkLst>
        </pc:sldLayoutChg>
        <pc:sldLayoutChg chg="new del replId">
          <pc:chgData name="Michael Tull" userId="9b84a4a9-44d8-4d28-b1a8-900a431bc43d" providerId="ADAL" clId="{A04BA11E-879C-4F61-84D5-446AB79F79BC}" dt="2022-05-16T09:05:35.388" v="2424" actId="6938"/>
          <pc:sldLayoutMkLst>
            <pc:docMk/>
            <pc:sldMasterMk cId="1852743877" sldId="2147484154"/>
            <pc:sldLayoutMk cId="3810908442" sldId="2147484156"/>
          </pc:sldLayoutMkLst>
        </pc:sldLayoutChg>
        <pc:sldLayoutChg chg="new del replId">
          <pc:chgData name="Michael Tull" userId="9b84a4a9-44d8-4d28-b1a8-900a431bc43d" providerId="ADAL" clId="{A04BA11E-879C-4F61-84D5-446AB79F79BC}" dt="2022-05-16T09:05:35.388" v="2424" actId="6938"/>
          <pc:sldLayoutMkLst>
            <pc:docMk/>
            <pc:sldMasterMk cId="1852743877" sldId="2147484154"/>
            <pc:sldLayoutMk cId="540701135" sldId="2147484157"/>
          </pc:sldLayoutMkLst>
        </pc:sldLayoutChg>
        <pc:sldLayoutChg chg="new del replId">
          <pc:chgData name="Michael Tull" userId="9b84a4a9-44d8-4d28-b1a8-900a431bc43d" providerId="ADAL" clId="{A04BA11E-879C-4F61-84D5-446AB79F79BC}" dt="2022-05-16T09:05:35.388" v="2424" actId="6938"/>
          <pc:sldLayoutMkLst>
            <pc:docMk/>
            <pc:sldMasterMk cId="1852743877" sldId="2147484154"/>
            <pc:sldLayoutMk cId="2854212148" sldId="2147484158"/>
          </pc:sldLayoutMkLst>
        </pc:sldLayoutChg>
        <pc:sldLayoutChg chg="new del replId">
          <pc:chgData name="Michael Tull" userId="9b84a4a9-44d8-4d28-b1a8-900a431bc43d" providerId="ADAL" clId="{A04BA11E-879C-4F61-84D5-446AB79F79BC}" dt="2022-05-16T09:05:35.388" v="2424" actId="6938"/>
          <pc:sldLayoutMkLst>
            <pc:docMk/>
            <pc:sldMasterMk cId="1852743877" sldId="2147484154"/>
            <pc:sldLayoutMk cId="2272782899" sldId="2147484159"/>
          </pc:sldLayoutMkLst>
        </pc:sldLayoutChg>
        <pc:sldLayoutChg chg="new del replId">
          <pc:chgData name="Michael Tull" userId="9b84a4a9-44d8-4d28-b1a8-900a431bc43d" providerId="ADAL" clId="{A04BA11E-879C-4F61-84D5-446AB79F79BC}" dt="2022-05-16T09:05:35.388" v="2424" actId="6938"/>
          <pc:sldLayoutMkLst>
            <pc:docMk/>
            <pc:sldMasterMk cId="1852743877" sldId="2147484154"/>
            <pc:sldLayoutMk cId="1181763982" sldId="2147484160"/>
          </pc:sldLayoutMkLst>
        </pc:sldLayoutChg>
        <pc:sldLayoutChg chg="new del replId">
          <pc:chgData name="Michael Tull" userId="9b84a4a9-44d8-4d28-b1a8-900a431bc43d" providerId="ADAL" clId="{A04BA11E-879C-4F61-84D5-446AB79F79BC}" dt="2022-05-16T09:05:35.388" v="2424" actId="6938"/>
          <pc:sldLayoutMkLst>
            <pc:docMk/>
            <pc:sldMasterMk cId="1852743877" sldId="2147484154"/>
            <pc:sldLayoutMk cId="2063405243" sldId="2147484161"/>
          </pc:sldLayoutMkLst>
        </pc:sldLayoutChg>
        <pc:sldLayoutChg chg="new del replId">
          <pc:chgData name="Michael Tull" userId="9b84a4a9-44d8-4d28-b1a8-900a431bc43d" providerId="ADAL" clId="{A04BA11E-879C-4F61-84D5-446AB79F79BC}" dt="2022-05-16T09:05:35.388" v="2424" actId="6938"/>
          <pc:sldLayoutMkLst>
            <pc:docMk/>
            <pc:sldMasterMk cId="1852743877" sldId="2147484154"/>
            <pc:sldLayoutMk cId="1146148747" sldId="2147484162"/>
          </pc:sldLayoutMkLst>
        </pc:sldLayoutChg>
        <pc:sldLayoutChg chg="new del replId">
          <pc:chgData name="Michael Tull" userId="9b84a4a9-44d8-4d28-b1a8-900a431bc43d" providerId="ADAL" clId="{A04BA11E-879C-4F61-84D5-446AB79F79BC}" dt="2022-05-16T09:05:35.388" v="2424" actId="6938"/>
          <pc:sldLayoutMkLst>
            <pc:docMk/>
            <pc:sldMasterMk cId="1852743877" sldId="2147484154"/>
            <pc:sldLayoutMk cId="2917661027" sldId="2147484163"/>
          </pc:sldLayoutMkLst>
        </pc:sldLayoutChg>
        <pc:sldLayoutChg chg="new del replId">
          <pc:chgData name="Michael Tull" userId="9b84a4a9-44d8-4d28-b1a8-900a431bc43d" providerId="ADAL" clId="{A04BA11E-879C-4F61-84D5-446AB79F79BC}" dt="2022-05-16T09:05:35.388" v="2424" actId="6938"/>
          <pc:sldLayoutMkLst>
            <pc:docMk/>
            <pc:sldMasterMk cId="1852743877" sldId="2147484154"/>
            <pc:sldLayoutMk cId="3811208665" sldId="2147484164"/>
          </pc:sldLayoutMkLst>
        </pc:sldLayoutChg>
        <pc:sldLayoutChg chg="new del replId">
          <pc:chgData name="Michael Tull" userId="9b84a4a9-44d8-4d28-b1a8-900a431bc43d" providerId="ADAL" clId="{A04BA11E-879C-4F61-84D5-446AB79F79BC}" dt="2022-05-16T09:05:35.388" v="2424" actId="6938"/>
          <pc:sldLayoutMkLst>
            <pc:docMk/>
            <pc:sldMasterMk cId="1852743877" sldId="2147484154"/>
            <pc:sldLayoutMk cId="590814244" sldId="2147484165"/>
          </pc:sldLayoutMkLst>
        </pc:sldLayoutChg>
      </pc:sldMasterChg>
      <pc:sldMasterChg chg="new del mod addSldLayout delSldLayout">
        <pc:chgData name="Michael Tull" userId="9b84a4a9-44d8-4d28-b1a8-900a431bc43d" providerId="ADAL" clId="{A04BA11E-879C-4F61-84D5-446AB79F79BC}" dt="2022-05-16T09:05:35.356" v="2423" actId="6938"/>
        <pc:sldMasterMkLst>
          <pc:docMk/>
          <pc:sldMasterMk cId="2856504399" sldId="2147484166"/>
        </pc:sldMasterMkLst>
        <pc:sldLayoutChg chg="new del replId">
          <pc:chgData name="Michael Tull" userId="9b84a4a9-44d8-4d28-b1a8-900a431bc43d" providerId="ADAL" clId="{A04BA11E-879C-4F61-84D5-446AB79F79BC}" dt="2022-05-16T09:05:35.356" v="2423" actId="6938"/>
          <pc:sldLayoutMkLst>
            <pc:docMk/>
            <pc:sldMasterMk cId="2856504399" sldId="2147484166"/>
            <pc:sldLayoutMk cId="3431097577" sldId="2147484167"/>
          </pc:sldLayoutMkLst>
        </pc:sldLayoutChg>
        <pc:sldLayoutChg chg="new del replId">
          <pc:chgData name="Michael Tull" userId="9b84a4a9-44d8-4d28-b1a8-900a431bc43d" providerId="ADAL" clId="{A04BA11E-879C-4F61-84D5-446AB79F79BC}" dt="2022-05-16T09:05:35.356" v="2423" actId="6938"/>
          <pc:sldLayoutMkLst>
            <pc:docMk/>
            <pc:sldMasterMk cId="2856504399" sldId="2147484166"/>
            <pc:sldLayoutMk cId="4164031641" sldId="2147484168"/>
          </pc:sldLayoutMkLst>
        </pc:sldLayoutChg>
        <pc:sldLayoutChg chg="new del replId">
          <pc:chgData name="Michael Tull" userId="9b84a4a9-44d8-4d28-b1a8-900a431bc43d" providerId="ADAL" clId="{A04BA11E-879C-4F61-84D5-446AB79F79BC}" dt="2022-05-16T09:05:35.356" v="2423" actId="6938"/>
          <pc:sldLayoutMkLst>
            <pc:docMk/>
            <pc:sldMasterMk cId="2856504399" sldId="2147484166"/>
            <pc:sldLayoutMk cId="1601604489" sldId="2147484169"/>
          </pc:sldLayoutMkLst>
        </pc:sldLayoutChg>
        <pc:sldLayoutChg chg="new del replId">
          <pc:chgData name="Michael Tull" userId="9b84a4a9-44d8-4d28-b1a8-900a431bc43d" providerId="ADAL" clId="{A04BA11E-879C-4F61-84D5-446AB79F79BC}" dt="2022-05-16T09:05:35.356" v="2423" actId="6938"/>
          <pc:sldLayoutMkLst>
            <pc:docMk/>
            <pc:sldMasterMk cId="2856504399" sldId="2147484166"/>
            <pc:sldLayoutMk cId="2372682193" sldId="2147484170"/>
          </pc:sldLayoutMkLst>
        </pc:sldLayoutChg>
        <pc:sldLayoutChg chg="new del replId">
          <pc:chgData name="Michael Tull" userId="9b84a4a9-44d8-4d28-b1a8-900a431bc43d" providerId="ADAL" clId="{A04BA11E-879C-4F61-84D5-446AB79F79BC}" dt="2022-05-16T09:05:35.356" v="2423" actId="6938"/>
          <pc:sldLayoutMkLst>
            <pc:docMk/>
            <pc:sldMasterMk cId="2856504399" sldId="2147484166"/>
            <pc:sldLayoutMk cId="1652526843" sldId="2147484171"/>
          </pc:sldLayoutMkLst>
        </pc:sldLayoutChg>
        <pc:sldLayoutChg chg="new del replId">
          <pc:chgData name="Michael Tull" userId="9b84a4a9-44d8-4d28-b1a8-900a431bc43d" providerId="ADAL" clId="{A04BA11E-879C-4F61-84D5-446AB79F79BC}" dt="2022-05-16T09:05:35.356" v="2423" actId="6938"/>
          <pc:sldLayoutMkLst>
            <pc:docMk/>
            <pc:sldMasterMk cId="2856504399" sldId="2147484166"/>
            <pc:sldLayoutMk cId="4200314497" sldId="2147484172"/>
          </pc:sldLayoutMkLst>
        </pc:sldLayoutChg>
        <pc:sldLayoutChg chg="new del replId">
          <pc:chgData name="Michael Tull" userId="9b84a4a9-44d8-4d28-b1a8-900a431bc43d" providerId="ADAL" clId="{A04BA11E-879C-4F61-84D5-446AB79F79BC}" dt="2022-05-16T09:05:35.356" v="2423" actId="6938"/>
          <pc:sldLayoutMkLst>
            <pc:docMk/>
            <pc:sldMasterMk cId="2856504399" sldId="2147484166"/>
            <pc:sldLayoutMk cId="3452898827" sldId="2147484173"/>
          </pc:sldLayoutMkLst>
        </pc:sldLayoutChg>
        <pc:sldLayoutChg chg="new del replId">
          <pc:chgData name="Michael Tull" userId="9b84a4a9-44d8-4d28-b1a8-900a431bc43d" providerId="ADAL" clId="{A04BA11E-879C-4F61-84D5-446AB79F79BC}" dt="2022-05-16T09:05:35.356" v="2423" actId="6938"/>
          <pc:sldLayoutMkLst>
            <pc:docMk/>
            <pc:sldMasterMk cId="2856504399" sldId="2147484166"/>
            <pc:sldLayoutMk cId="1127796773" sldId="2147484174"/>
          </pc:sldLayoutMkLst>
        </pc:sldLayoutChg>
        <pc:sldLayoutChg chg="new del replId">
          <pc:chgData name="Michael Tull" userId="9b84a4a9-44d8-4d28-b1a8-900a431bc43d" providerId="ADAL" clId="{A04BA11E-879C-4F61-84D5-446AB79F79BC}" dt="2022-05-16T09:05:35.356" v="2423" actId="6938"/>
          <pc:sldLayoutMkLst>
            <pc:docMk/>
            <pc:sldMasterMk cId="2856504399" sldId="2147484166"/>
            <pc:sldLayoutMk cId="2235908443" sldId="2147484175"/>
          </pc:sldLayoutMkLst>
        </pc:sldLayoutChg>
        <pc:sldLayoutChg chg="new del replId">
          <pc:chgData name="Michael Tull" userId="9b84a4a9-44d8-4d28-b1a8-900a431bc43d" providerId="ADAL" clId="{A04BA11E-879C-4F61-84D5-446AB79F79BC}" dt="2022-05-16T09:05:35.356" v="2423" actId="6938"/>
          <pc:sldLayoutMkLst>
            <pc:docMk/>
            <pc:sldMasterMk cId="2856504399" sldId="2147484166"/>
            <pc:sldLayoutMk cId="1596368989" sldId="2147484176"/>
          </pc:sldLayoutMkLst>
        </pc:sldLayoutChg>
        <pc:sldLayoutChg chg="new del replId">
          <pc:chgData name="Michael Tull" userId="9b84a4a9-44d8-4d28-b1a8-900a431bc43d" providerId="ADAL" clId="{A04BA11E-879C-4F61-84D5-446AB79F79BC}" dt="2022-05-16T09:05:35.356" v="2423" actId="6938"/>
          <pc:sldLayoutMkLst>
            <pc:docMk/>
            <pc:sldMasterMk cId="2856504399" sldId="2147484166"/>
            <pc:sldLayoutMk cId="3337688791" sldId="2147484177"/>
          </pc:sldLayoutMkLst>
        </pc:sldLayoutChg>
      </pc:sldMasterChg>
      <pc:sldMasterChg chg="new del mod addSldLayout delSldLayout">
        <pc:chgData name="Michael Tull" userId="9b84a4a9-44d8-4d28-b1a8-900a431bc43d" providerId="ADAL" clId="{A04BA11E-879C-4F61-84D5-446AB79F79BC}" dt="2022-05-16T09:05:35.340" v="2422" actId="6938"/>
        <pc:sldMasterMkLst>
          <pc:docMk/>
          <pc:sldMasterMk cId="1071988551" sldId="2147484178"/>
        </pc:sldMasterMkLst>
        <pc:sldLayoutChg chg="new del replId">
          <pc:chgData name="Michael Tull" userId="9b84a4a9-44d8-4d28-b1a8-900a431bc43d" providerId="ADAL" clId="{A04BA11E-879C-4F61-84D5-446AB79F79BC}" dt="2022-05-16T09:05:35.340" v="2422" actId="6938"/>
          <pc:sldLayoutMkLst>
            <pc:docMk/>
            <pc:sldMasterMk cId="1071988551" sldId="2147484178"/>
            <pc:sldLayoutMk cId="3616901956" sldId="2147484179"/>
          </pc:sldLayoutMkLst>
        </pc:sldLayoutChg>
        <pc:sldLayoutChg chg="new del replId">
          <pc:chgData name="Michael Tull" userId="9b84a4a9-44d8-4d28-b1a8-900a431bc43d" providerId="ADAL" clId="{A04BA11E-879C-4F61-84D5-446AB79F79BC}" dt="2022-05-16T09:05:35.340" v="2422" actId="6938"/>
          <pc:sldLayoutMkLst>
            <pc:docMk/>
            <pc:sldMasterMk cId="1071988551" sldId="2147484178"/>
            <pc:sldLayoutMk cId="1230535030" sldId="2147484180"/>
          </pc:sldLayoutMkLst>
        </pc:sldLayoutChg>
        <pc:sldLayoutChg chg="new del replId">
          <pc:chgData name="Michael Tull" userId="9b84a4a9-44d8-4d28-b1a8-900a431bc43d" providerId="ADAL" clId="{A04BA11E-879C-4F61-84D5-446AB79F79BC}" dt="2022-05-16T09:05:35.340" v="2422" actId="6938"/>
          <pc:sldLayoutMkLst>
            <pc:docMk/>
            <pc:sldMasterMk cId="1071988551" sldId="2147484178"/>
            <pc:sldLayoutMk cId="3550916371" sldId="2147484181"/>
          </pc:sldLayoutMkLst>
        </pc:sldLayoutChg>
        <pc:sldLayoutChg chg="new del replId">
          <pc:chgData name="Michael Tull" userId="9b84a4a9-44d8-4d28-b1a8-900a431bc43d" providerId="ADAL" clId="{A04BA11E-879C-4F61-84D5-446AB79F79BC}" dt="2022-05-16T09:05:35.340" v="2422" actId="6938"/>
          <pc:sldLayoutMkLst>
            <pc:docMk/>
            <pc:sldMasterMk cId="1071988551" sldId="2147484178"/>
            <pc:sldLayoutMk cId="2313529744" sldId="2147484182"/>
          </pc:sldLayoutMkLst>
        </pc:sldLayoutChg>
        <pc:sldLayoutChg chg="new del replId">
          <pc:chgData name="Michael Tull" userId="9b84a4a9-44d8-4d28-b1a8-900a431bc43d" providerId="ADAL" clId="{A04BA11E-879C-4F61-84D5-446AB79F79BC}" dt="2022-05-16T09:05:35.340" v="2422" actId="6938"/>
          <pc:sldLayoutMkLst>
            <pc:docMk/>
            <pc:sldMasterMk cId="1071988551" sldId="2147484178"/>
            <pc:sldLayoutMk cId="1978991134" sldId="2147484183"/>
          </pc:sldLayoutMkLst>
        </pc:sldLayoutChg>
        <pc:sldLayoutChg chg="new del replId">
          <pc:chgData name="Michael Tull" userId="9b84a4a9-44d8-4d28-b1a8-900a431bc43d" providerId="ADAL" clId="{A04BA11E-879C-4F61-84D5-446AB79F79BC}" dt="2022-05-16T09:05:35.340" v="2422" actId="6938"/>
          <pc:sldLayoutMkLst>
            <pc:docMk/>
            <pc:sldMasterMk cId="1071988551" sldId="2147484178"/>
            <pc:sldLayoutMk cId="2764467851" sldId="2147484184"/>
          </pc:sldLayoutMkLst>
        </pc:sldLayoutChg>
        <pc:sldLayoutChg chg="new del replId">
          <pc:chgData name="Michael Tull" userId="9b84a4a9-44d8-4d28-b1a8-900a431bc43d" providerId="ADAL" clId="{A04BA11E-879C-4F61-84D5-446AB79F79BC}" dt="2022-05-16T09:05:35.340" v="2422" actId="6938"/>
          <pc:sldLayoutMkLst>
            <pc:docMk/>
            <pc:sldMasterMk cId="1071988551" sldId="2147484178"/>
            <pc:sldLayoutMk cId="442770855" sldId="2147484185"/>
          </pc:sldLayoutMkLst>
        </pc:sldLayoutChg>
        <pc:sldLayoutChg chg="new del replId">
          <pc:chgData name="Michael Tull" userId="9b84a4a9-44d8-4d28-b1a8-900a431bc43d" providerId="ADAL" clId="{A04BA11E-879C-4F61-84D5-446AB79F79BC}" dt="2022-05-16T09:05:35.340" v="2422" actId="6938"/>
          <pc:sldLayoutMkLst>
            <pc:docMk/>
            <pc:sldMasterMk cId="1071988551" sldId="2147484178"/>
            <pc:sldLayoutMk cId="1912820930" sldId="2147484186"/>
          </pc:sldLayoutMkLst>
        </pc:sldLayoutChg>
        <pc:sldLayoutChg chg="new del replId">
          <pc:chgData name="Michael Tull" userId="9b84a4a9-44d8-4d28-b1a8-900a431bc43d" providerId="ADAL" clId="{A04BA11E-879C-4F61-84D5-446AB79F79BC}" dt="2022-05-16T09:05:35.340" v="2422" actId="6938"/>
          <pc:sldLayoutMkLst>
            <pc:docMk/>
            <pc:sldMasterMk cId="1071988551" sldId="2147484178"/>
            <pc:sldLayoutMk cId="3584399634" sldId="2147484187"/>
          </pc:sldLayoutMkLst>
        </pc:sldLayoutChg>
        <pc:sldLayoutChg chg="new del replId">
          <pc:chgData name="Michael Tull" userId="9b84a4a9-44d8-4d28-b1a8-900a431bc43d" providerId="ADAL" clId="{A04BA11E-879C-4F61-84D5-446AB79F79BC}" dt="2022-05-16T09:05:35.340" v="2422" actId="6938"/>
          <pc:sldLayoutMkLst>
            <pc:docMk/>
            <pc:sldMasterMk cId="1071988551" sldId="2147484178"/>
            <pc:sldLayoutMk cId="4059714086" sldId="2147484188"/>
          </pc:sldLayoutMkLst>
        </pc:sldLayoutChg>
        <pc:sldLayoutChg chg="new del replId">
          <pc:chgData name="Michael Tull" userId="9b84a4a9-44d8-4d28-b1a8-900a431bc43d" providerId="ADAL" clId="{A04BA11E-879C-4F61-84D5-446AB79F79BC}" dt="2022-05-16T09:05:35.340" v="2422" actId="6938"/>
          <pc:sldLayoutMkLst>
            <pc:docMk/>
            <pc:sldMasterMk cId="1071988551" sldId="2147484178"/>
            <pc:sldLayoutMk cId="843480151" sldId="2147484189"/>
          </pc:sldLayoutMkLst>
        </pc:sldLayoutChg>
      </pc:sldMasterChg>
      <pc:sldMasterChg chg="new del mod addSldLayout delSldLayout">
        <pc:chgData name="Michael Tull" userId="9b84a4a9-44d8-4d28-b1a8-900a431bc43d" providerId="ADAL" clId="{A04BA11E-879C-4F61-84D5-446AB79F79BC}" dt="2022-05-16T09:05:35.325" v="2421" actId="6938"/>
        <pc:sldMasterMkLst>
          <pc:docMk/>
          <pc:sldMasterMk cId="1294621007" sldId="2147484190"/>
        </pc:sldMasterMkLst>
        <pc:sldLayoutChg chg="new del replId">
          <pc:chgData name="Michael Tull" userId="9b84a4a9-44d8-4d28-b1a8-900a431bc43d" providerId="ADAL" clId="{A04BA11E-879C-4F61-84D5-446AB79F79BC}" dt="2022-05-16T09:05:35.325" v="2421" actId="6938"/>
          <pc:sldLayoutMkLst>
            <pc:docMk/>
            <pc:sldMasterMk cId="1294621007" sldId="2147484190"/>
            <pc:sldLayoutMk cId="2442536534" sldId="2147484191"/>
          </pc:sldLayoutMkLst>
        </pc:sldLayoutChg>
        <pc:sldLayoutChg chg="new del replId">
          <pc:chgData name="Michael Tull" userId="9b84a4a9-44d8-4d28-b1a8-900a431bc43d" providerId="ADAL" clId="{A04BA11E-879C-4F61-84D5-446AB79F79BC}" dt="2022-05-16T09:05:35.325" v="2421" actId="6938"/>
          <pc:sldLayoutMkLst>
            <pc:docMk/>
            <pc:sldMasterMk cId="1294621007" sldId="2147484190"/>
            <pc:sldLayoutMk cId="772996696" sldId="2147484192"/>
          </pc:sldLayoutMkLst>
        </pc:sldLayoutChg>
        <pc:sldLayoutChg chg="new del replId">
          <pc:chgData name="Michael Tull" userId="9b84a4a9-44d8-4d28-b1a8-900a431bc43d" providerId="ADAL" clId="{A04BA11E-879C-4F61-84D5-446AB79F79BC}" dt="2022-05-16T09:05:35.325" v="2421" actId="6938"/>
          <pc:sldLayoutMkLst>
            <pc:docMk/>
            <pc:sldMasterMk cId="1294621007" sldId="2147484190"/>
            <pc:sldLayoutMk cId="1066812199" sldId="2147484193"/>
          </pc:sldLayoutMkLst>
        </pc:sldLayoutChg>
        <pc:sldLayoutChg chg="new del replId">
          <pc:chgData name="Michael Tull" userId="9b84a4a9-44d8-4d28-b1a8-900a431bc43d" providerId="ADAL" clId="{A04BA11E-879C-4F61-84D5-446AB79F79BC}" dt="2022-05-16T09:05:35.325" v="2421" actId="6938"/>
          <pc:sldLayoutMkLst>
            <pc:docMk/>
            <pc:sldMasterMk cId="1294621007" sldId="2147484190"/>
            <pc:sldLayoutMk cId="125841111" sldId="2147484194"/>
          </pc:sldLayoutMkLst>
        </pc:sldLayoutChg>
        <pc:sldLayoutChg chg="new del replId">
          <pc:chgData name="Michael Tull" userId="9b84a4a9-44d8-4d28-b1a8-900a431bc43d" providerId="ADAL" clId="{A04BA11E-879C-4F61-84D5-446AB79F79BC}" dt="2022-05-16T09:05:35.325" v="2421" actId="6938"/>
          <pc:sldLayoutMkLst>
            <pc:docMk/>
            <pc:sldMasterMk cId="1294621007" sldId="2147484190"/>
            <pc:sldLayoutMk cId="2535807700" sldId="2147484195"/>
          </pc:sldLayoutMkLst>
        </pc:sldLayoutChg>
        <pc:sldLayoutChg chg="new del replId">
          <pc:chgData name="Michael Tull" userId="9b84a4a9-44d8-4d28-b1a8-900a431bc43d" providerId="ADAL" clId="{A04BA11E-879C-4F61-84D5-446AB79F79BC}" dt="2022-05-16T09:05:35.325" v="2421" actId="6938"/>
          <pc:sldLayoutMkLst>
            <pc:docMk/>
            <pc:sldMasterMk cId="1294621007" sldId="2147484190"/>
            <pc:sldLayoutMk cId="2659906005" sldId="2147484196"/>
          </pc:sldLayoutMkLst>
        </pc:sldLayoutChg>
        <pc:sldLayoutChg chg="new del replId">
          <pc:chgData name="Michael Tull" userId="9b84a4a9-44d8-4d28-b1a8-900a431bc43d" providerId="ADAL" clId="{A04BA11E-879C-4F61-84D5-446AB79F79BC}" dt="2022-05-16T09:05:35.325" v="2421" actId="6938"/>
          <pc:sldLayoutMkLst>
            <pc:docMk/>
            <pc:sldMasterMk cId="1294621007" sldId="2147484190"/>
            <pc:sldLayoutMk cId="648340482" sldId="2147484197"/>
          </pc:sldLayoutMkLst>
        </pc:sldLayoutChg>
        <pc:sldLayoutChg chg="new del replId">
          <pc:chgData name="Michael Tull" userId="9b84a4a9-44d8-4d28-b1a8-900a431bc43d" providerId="ADAL" clId="{A04BA11E-879C-4F61-84D5-446AB79F79BC}" dt="2022-05-16T09:05:35.325" v="2421" actId="6938"/>
          <pc:sldLayoutMkLst>
            <pc:docMk/>
            <pc:sldMasterMk cId="1294621007" sldId="2147484190"/>
            <pc:sldLayoutMk cId="3559749938" sldId="2147484198"/>
          </pc:sldLayoutMkLst>
        </pc:sldLayoutChg>
        <pc:sldLayoutChg chg="new del replId">
          <pc:chgData name="Michael Tull" userId="9b84a4a9-44d8-4d28-b1a8-900a431bc43d" providerId="ADAL" clId="{A04BA11E-879C-4F61-84D5-446AB79F79BC}" dt="2022-05-16T09:05:35.325" v="2421" actId="6938"/>
          <pc:sldLayoutMkLst>
            <pc:docMk/>
            <pc:sldMasterMk cId="1294621007" sldId="2147484190"/>
            <pc:sldLayoutMk cId="263062091" sldId="2147484199"/>
          </pc:sldLayoutMkLst>
        </pc:sldLayoutChg>
        <pc:sldLayoutChg chg="new del replId">
          <pc:chgData name="Michael Tull" userId="9b84a4a9-44d8-4d28-b1a8-900a431bc43d" providerId="ADAL" clId="{A04BA11E-879C-4F61-84D5-446AB79F79BC}" dt="2022-05-16T09:05:35.325" v="2421" actId="6938"/>
          <pc:sldLayoutMkLst>
            <pc:docMk/>
            <pc:sldMasterMk cId="1294621007" sldId="2147484190"/>
            <pc:sldLayoutMk cId="2433596910" sldId="2147484200"/>
          </pc:sldLayoutMkLst>
        </pc:sldLayoutChg>
        <pc:sldLayoutChg chg="new del replId">
          <pc:chgData name="Michael Tull" userId="9b84a4a9-44d8-4d28-b1a8-900a431bc43d" providerId="ADAL" clId="{A04BA11E-879C-4F61-84D5-446AB79F79BC}" dt="2022-05-16T09:05:35.325" v="2421" actId="6938"/>
          <pc:sldLayoutMkLst>
            <pc:docMk/>
            <pc:sldMasterMk cId="1294621007" sldId="2147484190"/>
            <pc:sldLayoutMk cId="3431955516" sldId="2147484201"/>
          </pc:sldLayoutMkLst>
        </pc:sldLayoutChg>
      </pc:sldMasterChg>
      <pc:sldMasterChg chg="new del mod addSldLayout delSldLayout">
        <pc:chgData name="Michael Tull" userId="9b84a4a9-44d8-4d28-b1a8-900a431bc43d" providerId="ADAL" clId="{A04BA11E-879C-4F61-84D5-446AB79F79BC}" dt="2022-05-16T09:05:35.309" v="2420" actId="6938"/>
        <pc:sldMasterMkLst>
          <pc:docMk/>
          <pc:sldMasterMk cId="1257004203" sldId="2147484202"/>
        </pc:sldMasterMkLst>
        <pc:sldLayoutChg chg="new del replId">
          <pc:chgData name="Michael Tull" userId="9b84a4a9-44d8-4d28-b1a8-900a431bc43d" providerId="ADAL" clId="{A04BA11E-879C-4F61-84D5-446AB79F79BC}" dt="2022-05-16T09:05:35.309" v="2420" actId="6938"/>
          <pc:sldLayoutMkLst>
            <pc:docMk/>
            <pc:sldMasterMk cId="1257004203" sldId="2147484202"/>
            <pc:sldLayoutMk cId="4111897865" sldId="2147484203"/>
          </pc:sldLayoutMkLst>
        </pc:sldLayoutChg>
        <pc:sldLayoutChg chg="new del replId">
          <pc:chgData name="Michael Tull" userId="9b84a4a9-44d8-4d28-b1a8-900a431bc43d" providerId="ADAL" clId="{A04BA11E-879C-4F61-84D5-446AB79F79BC}" dt="2022-05-16T09:05:35.309" v="2420" actId="6938"/>
          <pc:sldLayoutMkLst>
            <pc:docMk/>
            <pc:sldMasterMk cId="1257004203" sldId="2147484202"/>
            <pc:sldLayoutMk cId="3628348478" sldId="2147484204"/>
          </pc:sldLayoutMkLst>
        </pc:sldLayoutChg>
        <pc:sldLayoutChg chg="new del replId">
          <pc:chgData name="Michael Tull" userId="9b84a4a9-44d8-4d28-b1a8-900a431bc43d" providerId="ADAL" clId="{A04BA11E-879C-4F61-84D5-446AB79F79BC}" dt="2022-05-16T09:05:35.309" v="2420" actId="6938"/>
          <pc:sldLayoutMkLst>
            <pc:docMk/>
            <pc:sldMasterMk cId="1257004203" sldId="2147484202"/>
            <pc:sldLayoutMk cId="4218195845" sldId="2147484205"/>
          </pc:sldLayoutMkLst>
        </pc:sldLayoutChg>
        <pc:sldLayoutChg chg="new del replId">
          <pc:chgData name="Michael Tull" userId="9b84a4a9-44d8-4d28-b1a8-900a431bc43d" providerId="ADAL" clId="{A04BA11E-879C-4F61-84D5-446AB79F79BC}" dt="2022-05-16T09:05:35.309" v="2420" actId="6938"/>
          <pc:sldLayoutMkLst>
            <pc:docMk/>
            <pc:sldMasterMk cId="1257004203" sldId="2147484202"/>
            <pc:sldLayoutMk cId="2500945942" sldId="2147484206"/>
          </pc:sldLayoutMkLst>
        </pc:sldLayoutChg>
        <pc:sldLayoutChg chg="new del replId">
          <pc:chgData name="Michael Tull" userId="9b84a4a9-44d8-4d28-b1a8-900a431bc43d" providerId="ADAL" clId="{A04BA11E-879C-4F61-84D5-446AB79F79BC}" dt="2022-05-16T09:05:35.309" v="2420" actId="6938"/>
          <pc:sldLayoutMkLst>
            <pc:docMk/>
            <pc:sldMasterMk cId="1257004203" sldId="2147484202"/>
            <pc:sldLayoutMk cId="880421115" sldId="2147484207"/>
          </pc:sldLayoutMkLst>
        </pc:sldLayoutChg>
        <pc:sldLayoutChg chg="new del replId">
          <pc:chgData name="Michael Tull" userId="9b84a4a9-44d8-4d28-b1a8-900a431bc43d" providerId="ADAL" clId="{A04BA11E-879C-4F61-84D5-446AB79F79BC}" dt="2022-05-16T09:05:35.309" v="2420" actId="6938"/>
          <pc:sldLayoutMkLst>
            <pc:docMk/>
            <pc:sldMasterMk cId="1257004203" sldId="2147484202"/>
            <pc:sldLayoutMk cId="4200405371" sldId="2147484208"/>
          </pc:sldLayoutMkLst>
        </pc:sldLayoutChg>
        <pc:sldLayoutChg chg="new del replId">
          <pc:chgData name="Michael Tull" userId="9b84a4a9-44d8-4d28-b1a8-900a431bc43d" providerId="ADAL" clId="{A04BA11E-879C-4F61-84D5-446AB79F79BC}" dt="2022-05-16T09:05:35.309" v="2420" actId="6938"/>
          <pc:sldLayoutMkLst>
            <pc:docMk/>
            <pc:sldMasterMk cId="1257004203" sldId="2147484202"/>
            <pc:sldLayoutMk cId="712912363" sldId="2147484209"/>
          </pc:sldLayoutMkLst>
        </pc:sldLayoutChg>
        <pc:sldLayoutChg chg="new del replId">
          <pc:chgData name="Michael Tull" userId="9b84a4a9-44d8-4d28-b1a8-900a431bc43d" providerId="ADAL" clId="{A04BA11E-879C-4F61-84D5-446AB79F79BC}" dt="2022-05-16T09:05:35.309" v="2420" actId="6938"/>
          <pc:sldLayoutMkLst>
            <pc:docMk/>
            <pc:sldMasterMk cId="1257004203" sldId="2147484202"/>
            <pc:sldLayoutMk cId="3602026190" sldId="2147484210"/>
          </pc:sldLayoutMkLst>
        </pc:sldLayoutChg>
        <pc:sldLayoutChg chg="new del replId">
          <pc:chgData name="Michael Tull" userId="9b84a4a9-44d8-4d28-b1a8-900a431bc43d" providerId="ADAL" clId="{A04BA11E-879C-4F61-84D5-446AB79F79BC}" dt="2022-05-16T09:05:35.309" v="2420" actId="6938"/>
          <pc:sldLayoutMkLst>
            <pc:docMk/>
            <pc:sldMasterMk cId="1257004203" sldId="2147484202"/>
            <pc:sldLayoutMk cId="292736032" sldId="2147484211"/>
          </pc:sldLayoutMkLst>
        </pc:sldLayoutChg>
        <pc:sldLayoutChg chg="new del replId">
          <pc:chgData name="Michael Tull" userId="9b84a4a9-44d8-4d28-b1a8-900a431bc43d" providerId="ADAL" clId="{A04BA11E-879C-4F61-84D5-446AB79F79BC}" dt="2022-05-16T09:05:35.309" v="2420" actId="6938"/>
          <pc:sldLayoutMkLst>
            <pc:docMk/>
            <pc:sldMasterMk cId="1257004203" sldId="2147484202"/>
            <pc:sldLayoutMk cId="3857504707" sldId="2147484212"/>
          </pc:sldLayoutMkLst>
        </pc:sldLayoutChg>
        <pc:sldLayoutChg chg="new del replId">
          <pc:chgData name="Michael Tull" userId="9b84a4a9-44d8-4d28-b1a8-900a431bc43d" providerId="ADAL" clId="{A04BA11E-879C-4F61-84D5-446AB79F79BC}" dt="2022-05-16T09:05:35.309" v="2420" actId="6938"/>
          <pc:sldLayoutMkLst>
            <pc:docMk/>
            <pc:sldMasterMk cId="1257004203" sldId="2147484202"/>
            <pc:sldLayoutMk cId="1536075370" sldId="2147484213"/>
          </pc:sldLayoutMkLst>
        </pc:sldLayoutChg>
      </pc:sldMasterChg>
      <pc:sldMasterChg chg="new del mod addSldLayout delSldLayout">
        <pc:chgData name="Michael Tull" userId="9b84a4a9-44d8-4d28-b1a8-900a431bc43d" providerId="ADAL" clId="{A04BA11E-879C-4F61-84D5-446AB79F79BC}" dt="2022-05-16T09:05:35.276" v="2419" actId="6938"/>
        <pc:sldMasterMkLst>
          <pc:docMk/>
          <pc:sldMasterMk cId="2109654067" sldId="2147484214"/>
        </pc:sldMasterMkLst>
        <pc:sldLayoutChg chg="new del replId">
          <pc:chgData name="Michael Tull" userId="9b84a4a9-44d8-4d28-b1a8-900a431bc43d" providerId="ADAL" clId="{A04BA11E-879C-4F61-84D5-446AB79F79BC}" dt="2022-05-16T09:05:35.276" v="2419" actId="6938"/>
          <pc:sldLayoutMkLst>
            <pc:docMk/>
            <pc:sldMasterMk cId="2109654067" sldId="2147484214"/>
            <pc:sldLayoutMk cId="3977062257" sldId="2147484215"/>
          </pc:sldLayoutMkLst>
        </pc:sldLayoutChg>
        <pc:sldLayoutChg chg="new del replId">
          <pc:chgData name="Michael Tull" userId="9b84a4a9-44d8-4d28-b1a8-900a431bc43d" providerId="ADAL" clId="{A04BA11E-879C-4F61-84D5-446AB79F79BC}" dt="2022-05-16T09:05:35.276" v="2419" actId="6938"/>
          <pc:sldLayoutMkLst>
            <pc:docMk/>
            <pc:sldMasterMk cId="2109654067" sldId="2147484214"/>
            <pc:sldLayoutMk cId="3316684917" sldId="2147484216"/>
          </pc:sldLayoutMkLst>
        </pc:sldLayoutChg>
        <pc:sldLayoutChg chg="new del replId">
          <pc:chgData name="Michael Tull" userId="9b84a4a9-44d8-4d28-b1a8-900a431bc43d" providerId="ADAL" clId="{A04BA11E-879C-4F61-84D5-446AB79F79BC}" dt="2022-05-16T09:05:35.276" v="2419" actId="6938"/>
          <pc:sldLayoutMkLst>
            <pc:docMk/>
            <pc:sldMasterMk cId="2109654067" sldId="2147484214"/>
            <pc:sldLayoutMk cId="3742737807" sldId="2147484217"/>
          </pc:sldLayoutMkLst>
        </pc:sldLayoutChg>
        <pc:sldLayoutChg chg="new del replId">
          <pc:chgData name="Michael Tull" userId="9b84a4a9-44d8-4d28-b1a8-900a431bc43d" providerId="ADAL" clId="{A04BA11E-879C-4F61-84D5-446AB79F79BC}" dt="2022-05-16T09:05:35.276" v="2419" actId="6938"/>
          <pc:sldLayoutMkLst>
            <pc:docMk/>
            <pc:sldMasterMk cId="2109654067" sldId="2147484214"/>
            <pc:sldLayoutMk cId="2042602422" sldId="2147484218"/>
          </pc:sldLayoutMkLst>
        </pc:sldLayoutChg>
        <pc:sldLayoutChg chg="new del replId">
          <pc:chgData name="Michael Tull" userId="9b84a4a9-44d8-4d28-b1a8-900a431bc43d" providerId="ADAL" clId="{A04BA11E-879C-4F61-84D5-446AB79F79BC}" dt="2022-05-16T09:05:35.276" v="2419" actId="6938"/>
          <pc:sldLayoutMkLst>
            <pc:docMk/>
            <pc:sldMasterMk cId="2109654067" sldId="2147484214"/>
            <pc:sldLayoutMk cId="395458583" sldId="2147484219"/>
          </pc:sldLayoutMkLst>
        </pc:sldLayoutChg>
        <pc:sldLayoutChg chg="new del replId">
          <pc:chgData name="Michael Tull" userId="9b84a4a9-44d8-4d28-b1a8-900a431bc43d" providerId="ADAL" clId="{A04BA11E-879C-4F61-84D5-446AB79F79BC}" dt="2022-05-16T09:05:35.276" v="2419" actId="6938"/>
          <pc:sldLayoutMkLst>
            <pc:docMk/>
            <pc:sldMasterMk cId="2109654067" sldId="2147484214"/>
            <pc:sldLayoutMk cId="2789535188" sldId="2147484220"/>
          </pc:sldLayoutMkLst>
        </pc:sldLayoutChg>
        <pc:sldLayoutChg chg="new del replId">
          <pc:chgData name="Michael Tull" userId="9b84a4a9-44d8-4d28-b1a8-900a431bc43d" providerId="ADAL" clId="{A04BA11E-879C-4F61-84D5-446AB79F79BC}" dt="2022-05-16T09:05:35.276" v="2419" actId="6938"/>
          <pc:sldLayoutMkLst>
            <pc:docMk/>
            <pc:sldMasterMk cId="2109654067" sldId="2147484214"/>
            <pc:sldLayoutMk cId="3207880830" sldId="2147484221"/>
          </pc:sldLayoutMkLst>
        </pc:sldLayoutChg>
        <pc:sldLayoutChg chg="new del replId">
          <pc:chgData name="Michael Tull" userId="9b84a4a9-44d8-4d28-b1a8-900a431bc43d" providerId="ADAL" clId="{A04BA11E-879C-4F61-84D5-446AB79F79BC}" dt="2022-05-16T09:05:35.276" v="2419" actId="6938"/>
          <pc:sldLayoutMkLst>
            <pc:docMk/>
            <pc:sldMasterMk cId="2109654067" sldId="2147484214"/>
            <pc:sldLayoutMk cId="560461330" sldId="2147484222"/>
          </pc:sldLayoutMkLst>
        </pc:sldLayoutChg>
        <pc:sldLayoutChg chg="new del replId">
          <pc:chgData name="Michael Tull" userId="9b84a4a9-44d8-4d28-b1a8-900a431bc43d" providerId="ADAL" clId="{A04BA11E-879C-4F61-84D5-446AB79F79BC}" dt="2022-05-16T09:05:35.276" v="2419" actId="6938"/>
          <pc:sldLayoutMkLst>
            <pc:docMk/>
            <pc:sldMasterMk cId="2109654067" sldId="2147484214"/>
            <pc:sldLayoutMk cId="1949170272" sldId="2147484223"/>
          </pc:sldLayoutMkLst>
        </pc:sldLayoutChg>
        <pc:sldLayoutChg chg="new del replId">
          <pc:chgData name="Michael Tull" userId="9b84a4a9-44d8-4d28-b1a8-900a431bc43d" providerId="ADAL" clId="{A04BA11E-879C-4F61-84D5-446AB79F79BC}" dt="2022-05-16T09:05:35.276" v="2419" actId="6938"/>
          <pc:sldLayoutMkLst>
            <pc:docMk/>
            <pc:sldMasterMk cId="2109654067" sldId="2147484214"/>
            <pc:sldLayoutMk cId="1096198709" sldId="2147484224"/>
          </pc:sldLayoutMkLst>
        </pc:sldLayoutChg>
        <pc:sldLayoutChg chg="new del replId">
          <pc:chgData name="Michael Tull" userId="9b84a4a9-44d8-4d28-b1a8-900a431bc43d" providerId="ADAL" clId="{A04BA11E-879C-4F61-84D5-446AB79F79BC}" dt="2022-05-16T09:05:35.276" v="2419" actId="6938"/>
          <pc:sldLayoutMkLst>
            <pc:docMk/>
            <pc:sldMasterMk cId="2109654067" sldId="2147484214"/>
            <pc:sldLayoutMk cId="3830258471" sldId="2147484225"/>
          </pc:sldLayoutMkLst>
        </pc:sldLayoutChg>
      </pc:sldMasterChg>
      <pc:sldMasterChg chg="new del mod addSldLayout delSldLayout">
        <pc:chgData name="Michael Tull" userId="9b84a4a9-44d8-4d28-b1a8-900a431bc43d" providerId="ADAL" clId="{A04BA11E-879C-4F61-84D5-446AB79F79BC}" dt="2022-05-16T09:05:35.260" v="2418" actId="6938"/>
        <pc:sldMasterMkLst>
          <pc:docMk/>
          <pc:sldMasterMk cId="2545585720" sldId="2147484226"/>
        </pc:sldMasterMkLst>
        <pc:sldLayoutChg chg="new del replId">
          <pc:chgData name="Michael Tull" userId="9b84a4a9-44d8-4d28-b1a8-900a431bc43d" providerId="ADAL" clId="{A04BA11E-879C-4F61-84D5-446AB79F79BC}" dt="2022-05-16T09:05:35.260" v="2418" actId="6938"/>
          <pc:sldLayoutMkLst>
            <pc:docMk/>
            <pc:sldMasterMk cId="2545585720" sldId="2147484226"/>
            <pc:sldLayoutMk cId="98672292" sldId="2147484227"/>
          </pc:sldLayoutMkLst>
        </pc:sldLayoutChg>
        <pc:sldLayoutChg chg="new del replId">
          <pc:chgData name="Michael Tull" userId="9b84a4a9-44d8-4d28-b1a8-900a431bc43d" providerId="ADAL" clId="{A04BA11E-879C-4F61-84D5-446AB79F79BC}" dt="2022-05-16T09:05:35.260" v="2418" actId="6938"/>
          <pc:sldLayoutMkLst>
            <pc:docMk/>
            <pc:sldMasterMk cId="2545585720" sldId="2147484226"/>
            <pc:sldLayoutMk cId="956397222" sldId="2147484228"/>
          </pc:sldLayoutMkLst>
        </pc:sldLayoutChg>
        <pc:sldLayoutChg chg="new del replId">
          <pc:chgData name="Michael Tull" userId="9b84a4a9-44d8-4d28-b1a8-900a431bc43d" providerId="ADAL" clId="{A04BA11E-879C-4F61-84D5-446AB79F79BC}" dt="2022-05-16T09:05:35.260" v="2418" actId="6938"/>
          <pc:sldLayoutMkLst>
            <pc:docMk/>
            <pc:sldMasterMk cId="2545585720" sldId="2147484226"/>
            <pc:sldLayoutMk cId="617005444" sldId="2147484229"/>
          </pc:sldLayoutMkLst>
        </pc:sldLayoutChg>
        <pc:sldLayoutChg chg="new del replId">
          <pc:chgData name="Michael Tull" userId="9b84a4a9-44d8-4d28-b1a8-900a431bc43d" providerId="ADAL" clId="{A04BA11E-879C-4F61-84D5-446AB79F79BC}" dt="2022-05-16T09:05:35.260" v="2418" actId="6938"/>
          <pc:sldLayoutMkLst>
            <pc:docMk/>
            <pc:sldMasterMk cId="2545585720" sldId="2147484226"/>
            <pc:sldLayoutMk cId="3549453981" sldId="2147484230"/>
          </pc:sldLayoutMkLst>
        </pc:sldLayoutChg>
        <pc:sldLayoutChg chg="new del replId">
          <pc:chgData name="Michael Tull" userId="9b84a4a9-44d8-4d28-b1a8-900a431bc43d" providerId="ADAL" clId="{A04BA11E-879C-4F61-84D5-446AB79F79BC}" dt="2022-05-16T09:05:35.260" v="2418" actId="6938"/>
          <pc:sldLayoutMkLst>
            <pc:docMk/>
            <pc:sldMasterMk cId="2545585720" sldId="2147484226"/>
            <pc:sldLayoutMk cId="2925531809" sldId="2147484231"/>
          </pc:sldLayoutMkLst>
        </pc:sldLayoutChg>
        <pc:sldLayoutChg chg="new del replId">
          <pc:chgData name="Michael Tull" userId="9b84a4a9-44d8-4d28-b1a8-900a431bc43d" providerId="ADAL" clId="{A04BA11E-879C-4F61-84D5-446AB79F79BC}" dt="2022-05-16T09:05:35.260" v="2418" actId="6938"/>
          <pc:sldLayoutMkLst>
            <pc:docMk/>
            <pc:sldMasterMk cId="2545585720" sldId="2147484226"/>
            <pc:sldLayoutMk cId="1927741082" sldId="2147484232"/>
          </pc:sldLayoutMkLst>
        </pc:sldLayoutChg>
        <pc:sldLayoutChg chg="new del replId">
          <pc:chgData name="Michael Tull" userId="9b84a4a9-44d8-4d28-b1a8-900a431bc43d" providerId="ADAL" clId="{A04BA11E-879C-4F61-84D5-446AB79F79BC}" dt="2022-05-16T09:05:35.260" v="2418" actId="6938"/>
          <pc:sldLayoutMkLst>
            <pc:docMk/>
            <pc:sldMasterMk cId="2545585720" sldId="2147484226"/>
            <pc:sldLayoutMk cId="3744320125" sldId="2147484233"/>
          </pc:sldLayoutMkLst>
        </pc:sldLayoutChg>
        <pc:sldLayoutChg chg="new del replId">
          <pc:chgData name="Michael Tull" userId="9b84a4a9-44d8-4d28-b1a8-900a431bc43d" providerId="ADAL" clId="{A04BA11E-879C-4F61-84D5-446AB79F79BC}" dt="2022-05-16T09:05:35.260" v="2418" actId="6938"/>
          <pc:sldLayoutMkLst>
            <pc:docMk/>
            <pc:sldMasterMk cId="2545585720" sldId="2147484226"/>
            <pc:sldLayoutMk cId="1323658779" sldId="2147484234"/>
          </pc:sldLayoutMkLst>
        </pc:sldLayoutChg>
        <pc:sldLayoutChg chg="new del replId">
          <pc:chgData name="Michael Tull" userId="9b84a4a9-44d8-4d28-b1a8-900a431bc43d" providerId="ADAL" clId="{A04BA11E-879C-4F61-84D5-446AB79F79BC}" dt="2022-05-16T09:05:35.260" v="2418" actId="6938"/>
          <pc:sldLayoutMkLst>
            <pc:docMk/>
            <pc:sldMasterMk cId="2545585720" sldId="2147484226"/>
            <pc:sldLayoutMk cId="2414270108" sldId="2147484235"/>
          </pc:sldLayoutMkLst>
        </pc:sldLayoutChg>
        <pc:sldLayoutChg chg="new del replId">
          <pc:chgData name="Michael Tull" userId="9b84a4a9-44d8-4d28-b1a8-900a431bc43d" providerId="ADAL" clId="{A04BA11E-879C-4F61-84D5-446AB79F79BC}" dt="2022-05-16T09:05:35.260" v="2418" actId="6938"/>
          <pc:sldLayoutMkLst>
            <pc:docMk/>
            <pc:sldMasterMk cId="2545585720" sldId="2147484226"/>
            <pc:sldLayoutMk cId="3733715025" sldId="2147484236"/>
          </pc:sldLayoutMkLst>
        </pc:sldLayoutChg>
        <pc:sldLayoutChg chg="new del replId">
          <pc:chgData name="Michael Tull" userId="9b84a4a9-44d8-4d28-b1a8-900a431bc43d" providerId="ADAL" clId="{A04BA11E-879C-4F61-84D5-446AB79F79BC}" dt="2022-05-16T09:05:35.260" v="2418" actId="6938"/>
          <pc:sldLayoutMkLst>
            <pc:docMk/>
            <pc:sldMasterMk cId="2545585720" sldId="2147484226"/>
            <pc:sldLayoutMk cId="2007135709" sldId="2147484237"/>
          </pc:sldLayoutMkLst>
        </pc:sldLayoutChg>
      </pc:sldMasterChg>
      <pc:sldMasterChg chg="new del mod addSldLayout delSldLayout">
        <pc:chgData name="Michael Tull" userId="9b84a4a9-44d8-4d28-b1a8-900a431bc43d" providerId="ADAL" clId="{A04BA11E-879C-4F61-84D5-446AB79F79BC}" dt="2022-05-16T09:05:35.240" v="2417" actId="6938"/>
        <pc:sldMasterMkLst>
          <pc:docMk/>
          <pc:sldMasterMk cId="1196175360" sldId="2147484238"/>
        </pc:sldMasterMkLst>
        <pc:sldLayoutChg chg="new del replId">
          <pc:chgData name="Michael Tull" userId="9b84a4a9-44d8-4d28-b1a8-900a431bc43d" providerId="ADAL" clId="{A04BA11E-879C-4F61-84D5-446AB79F79BC}" dt="2022-05-16T09:05:35.240" v="2417" actId="6938"/>
          <pc:sldLayoutMkLst>
            <pc:docMk/>
            <pc:sldMasterMk cId="1196175360" sldId="2147484238"/>
            <pc:sldLayoutMk cId="2295096852" sldId="2147484239"/>
          </pc:sldLayoutMkLst>
        </pc:sldLayoutChg>
        <pc:sldLayoutChg chg="new del replId">
          <pc:chgData name="Michael Tull" userId="9b84a4a9-44d8-4d28-b1a8-900a431bc43d" providerId="ADAL" clId="{A04BA11E-879C-4F61-84D5-446AB79F79BC}" dt="2022-05-16T09:05:35.240" v="2417" actId="6938"/>
          <pc:sldLayoutMkLst>
            <pc:docMk/>
            <pc:sldMasterMk cId="1196175360" sldId="2147484238"/>
            <pc:sldLayoutMk cId="1314801714" sldId="2147484240"/>
          </pc:sldLayoutMkLst>
        </pc:sldLayoutChg>
        <pc:sldLayoutChg chg="new del replId">
          <pc:chgData name="Michael Tull" userId="9b84a4a9-44d8-4d28-b1a8-900a431bc43d" providerId="ADAL" clId="{A04BA11E-879C-4F61-84D5-446AB79F79BC}" dt="2022-05-16T09:05:35.240" v="2417" actId="6938"/>
          <pc:sldLayoutMkLst>
            <pc:docMk/>
            <pc:sldMasterMk cId="1196175360" sldId="2147484238"/>
            <pc:sldLayoutMk cId="754737841" sldId="2147484241"/>
          </pc:sldLayoutMkLst>
        </pc:sldLayoutChg>
        <pc:sldLayoutChg chg="new del replId">
          <pc:chgData name="Michael Tull" userId="9b84a4a9-44d8-4d28-b1a8-900a431bc43d" providerId="ADAL" clId="{A04BA11E-879C-4F61-84D5-446AB79F79BC}" dt="2022-05-16T09:05:35.240" v="2417" actId="6938"/>
          <pc:sldLayoutMkLst>
            <pc:docMk/>
            <pc:sldMasterMk cId="1196175360" sldId="2147484238"/>
            <pc:sldLayoutMk cId="3622186990" sldId="2147484242"/>
          </pc:sldLayoutMkLst>
        </pc:sldLayoutChg>
        <pc:sldLayoutChg chg="new del replId">
          <pc:chgData name="Michael Tull" userId="9b84a4a9-44d8-4d28-b1a8-900a431bc43d" providerId="ADAL" clId="{A04BA11E-879C-4F61-84D5-446AB79F79BC}" dt="2022-05-16T09:05:35.240" v="2417" actId="6938"/>
          <pc:sldLayoutMkLst>
            <pc:docMk/>
            <pc:sldMasterMk cId="1196175360" sldId="2147484238"/>
            <pc:sldLayoutMk cId="482224217" sldId="2147484243"/>
          </pc:sldLayoutMkLst>
        </pc:sldLayoutChg>
        <pc:sldLayoutChg chg="new del replId">
          <pc:chgData name="Michael Tull" userId="9b84a4a9-44d8-4d28-b1a8-900a431bc43d" providerId="ADAL" clId="{A04BA11E-879C-4F61-84D5-446AB79F79BC}" dt="2022-05-16T09:05:35.240" v="2417" actId="6938"/>
          <pc:sldLayoutMkLst>
            <pc:docMk/>
            <pc:sldMasterMk cId="1196175360" sldId="2147484238"/>
            <pc:sldLayoutMk cId="3938551223" sldId="2147484244"/>
          </pc:sldLayoutMkLst>
        </pc:sldLayoutChg>
        <pc:sldLayoutChg chg="new del replId">
          <pc:chgData name="Michael Tull" userId="9b84a4a9-44d8-4d28-b1a8-900a431bc43d" providerId="ADAL" clId="{A04BA11E-879C-4F61-84D5-446AB79F79BC}" dt="2022-05-16T09:05:35.240" v="2417" actId="6938"/>
          <pc:sldLayoutMkLst>
            <pc:docMk/>
            <pc:sldMasterMk cId="1196175360" sldId="2147484238"/>
            <pc:sldLayoutMk cId="176082435" sldId="2147484245"/>
          </pc:sldLayoutMkLst>
        </pc:sldLayoutChg>
        <pc:sldLayoutChg chg="new del replId">
          <pc:chgData name="Michael Tull" userId="9b84a4a9-44d8-4d28-b1a8-900a431bc43d" providerId="ADAL" clId="{A04BA11E-879C-4F61-84D5-446AB79F79BC}" dt="2022-05-16T09:05:35.240" v="2417" actId="6938"/>
          <pc:sldLayoutMkLst>
            <pc:docMk/>
            <pc:sldMasterMk cId="1196175360" sldId="2147484238"/>
            <pc:sldLayoutMk cId="3220800328" sldId="2147484246"/>
          </pc:sldLayoutMkLst>
        </pc:sldLayoutChg>
        <pc:sldLayoutChg chg="new del replId">
          <pc:chgData name="Michael Tull" userId="9b84a4a9-44d8-4d28-b1a8-900a431bc43d" providerId="ADAL" clId="{A04BA11E-879C-4F61-84D5-446AB79F79BC}" dt="2022-05-16T09:05:35.240" v="2417" actId="6938"/>
          <pc:sldLayoutMkLst>
            <pc:docMk/>
            <pc:sldMasterMk cId="1196175360" sldId="2147484238"/>
            <pc:sldLayoutMk cId="3635459117" sldId="2147484247"/>
          </pc:sldLayoutMkLst>
        </pc:sldLayoutChg>
        <pc:sldLayoutChg chg="new del replId">
          <pc:chgData name="Michael Tull" userId="9b84a4a9-44d8-4d28-b1a8-900a431bc43d" providerId="ADAL" clId="{A04BA11E-879C-4F61-84D5-446AB79F79BC}" dt="2022-05-16T09:05:35.240" v="2417" actId="6938"/>
          <pc:sldLayoutMkLst>
            <pc:docMk/>
            <pc:sldMasterMk cId="1196175360" sldId="2147484238"/>
            <pc:sldLayoutMk cId="341879551" sldId="2147484248"/>
          </pc:sldLayoutMkLst>
        </pc:sldLayoutChg>
        <pc:sldLayoutChg chg="new del replId">
          <pc:chgData name="Michael Tull" userId="9b84a4a9-44d8-4d28-b1a8-900a431bc43d" providerId="ADAL" clId="{A04BA11E-879C-4F61-84D5-446AB79F79BC}" dt="2022-05-16T09:05:35.240" v="2417" actId="6938"/>
          <pc:sldLayoutMkLst>
            <pc:docMk/>
            <pc:sldMasterMk cId="1196175360" sldId="2147484238"/>
            <pc:sldLayoutMk cId="3706150379" sldId="2147484249"/>
          </pc:sldLayoutMkLst>
        </pc:sldLayoutChg>
      </pc:sldMasterChg>
      <pc:sldMasterChg chg="new del mod addSldLayout delSldLayout">
        <pc:chgData name="Michael Tull" userId="9b84a4a9-44d8-4d28-b1a8-900a431bc43d" providerId="ADAL" clId="{A04BA11E-879C-4F61-84D5-446AB79F79BC}" dt="2022-05-16T09:05:35.208" v="2416" actId="6938"/>
        <pc:sldMasterMkLst>
          <pc:docMk/>
          <pc:sldMasterMk cId="516446058" sldId="2147484250"/>
        </pc:sldMasterMkLst>
        <pc:sldLayoutChg chg="new del replId">
          <pc:chgData name="Michael Tull" userId="9b84a4a9-44d8-4d28-b1a8-900a431bc43d" providerId="ADAL" clId="{A04BA11E-879C-4F61-84D5-446AB79F79BC}" dt="2022-05-16T09:05:35.208" v="2416" actId="6938"/>
          <pc:sldLayoutMkLst>
            <pc:docMk/>
            <pc:sldMasterMk cId="516446058" sldId="2147484250"/>
            <pc:sldLayoutMk cId="3310437355" sldId="2147484251"/>
          </pc:sldLayoutMkLst>
        </pc:sldLayoutChg>
        <pc:sldLayoutChg chg="new del replId">
          <pc:chgData name="Michael Tull" userId="9b84a4a9-44d8-4d28-b1a8-900a431bc43d" providerId="ADAL" clId="{A04BA11E-879C-4F61-84D5-446AB79F79BC}" dt="2022-05-16T09:05:35.208" v="2416" actId="6938"/>
          <pc:sldLayoutMkLst>
            <pc:docMk/>
            <pc:sldMasterMk cId="516446058" sldId="2147484250"/>
            <pc:sldLayoutMk cId="2230395303" sldId="2147484252"/>
          </pc:sldLayoutMkLst>
        </pc:sldLayoutChg>
        <pc:sldLayoutChg chg="new del replId">
          <pc:chgData name="Michael Tull" userId="9b84a4a9-44d8-4d28-b1a8-900a431bc43d" providerId="ADAL" clId="{A04BA11E-879C-4F61-84D5-446AB79F79BC}" dt="2022-05-16T09:05:35.208" v="2416" actId="6938"/>
          <pc:sldLayoutMkLst>
            <pc:docMk/>
            <pc:sldMasterMk cId="516446058" sldId="2147484250"/>
            <pc:sldLayoutMk cId="1749669640" sldId="2147484253"/>
          </pc:sldLayoutMkLst>
        </pc:sldLayoutChg>
        <pc:sldLayoutChg chg="new del replId">
          <pc:chgData name="Michael Tull" userId="9b84a4a9-44d8-4d28-b1a8-900a431bc43d" providerId="ADAL" clId="{A04BA11E-879C-4F61-84D5-446AB79F79BC}" dt="2022-05-16T09:05:35.208" v="2416" actId="6938"/>
          <pc:sldLayoutMkLst>
            <pc:docMk/>
            <pc:sldMasterMk cId="516446058" sldId="2147484250"/>
            <pc:sldLayoutMk cId="3155742017" sldId="2147484254"/>
          </pc:sldLayoutMkLst>
        </pc:sldLayoutChg>
        <pc:sldLayoutChg chg="new del replId">
          <pc:chgData name="Michael Tull" userId="9b84a4a9-44d8-4d28-b1a8-900a431bc43d" providerId="ADAL" clId="{A04BA11E-879C-4F61-84D5-446AB79F79BC}" dt="2022-05-16T09:05:35.208" v="2416" actId="6938"/>
          <pc:sldLayoutMkLst>
            <pc:docMk/>
            <pc:sldMasterMk cId="516446058" sldId="2147484250"/>
            <pc:sldLayoutMk cId="441137024" sldId="2147484255"/>
          </pc:sldLayoutMkLst>
        </pc:sldLayoutChg>
        <pc:sldLayoutChg chg="new del replId">
          <pc:chgData name="Michael Tull" userId="9b84a4a9-44d8-4d28-b1a8-900a431bc43d" providerId="ADAL" clId="{A04BA11E-879C-4F61-84D5-446AB79F79BC}" dt="2022-05-16T09:05:35.208" v="2416" actId="6938"/>
          <pc:sldLayoutMkLst>
            <pc:docMk/>
            <pc:sldMasterMk cId="516446058" sldId="2147484250"/>
            <pc:sldLayoutMk cId="1634653012" sldId="2147484256"/>
          </pc:sldLayoutMkLst>
        </pc:sldLayoutChg>
        <pc:sldLayoutChg chg="new del replId">
          <pc:chgData name="Michael Tull" userId="9b84a4a9-44d8-4d28-b1a8-900a431bc43d" providerId="ADAL" clId="{A04BA11E-879C-4F61-84D5-446AB79F79BC}" dt="2022-05-16T09:05:35.208" v="2416" actId="6938"/>
          <pc:sldLayoutMkLst>
            <pc:docMk/>
            <pc:sldMasterMk cId="516446058" sldId="2147484250"/>
            <pc:sldLayoutMk cId="1601756836" sldId="2147484257"/>
          </pc:sldLayoutMkLst>
        </pc:sldLayoutChg>
        <pc:sldLayoutChg chg="new del replId">
          <pc:chgData name="Michael Tull" userId="9b84a4a9-44d8-4d28-b1a8-900a431bc43d" providerId="ADAL" clId="{A04BA11E-879C-4F61-84D5-446AB79F79BC}" dt="2022-05-16T09:05:35.208" v="2416" actId="6938"/>
          <pc:sldLayoutMkLst>
            <pc:docMk/>
            <pc:sldMasterMk cId="516446058" sldId="2147484250"/>
            <pc:sldLayoutMk cId="976558549" sldId="2147484258"/>
          </pc:sldLayoutMkLst>
        </pc:sldLayoutChg>
        <pc:sldLayoutChg chg="new del replId">
          <pc:chgData name="Michael Tull" userId="9b84a4a9-44d8-4d28-b1a8-900a431bc43d" providerId="ADAL" clId="{A04BA11E-879C-4F61-84D5-446AB79F79BC}" dt="2022-05-16T09:05:35.208" v="2416" actId="6938"/>
          <pc:sldLayoutMkLst>
            <pc:docMk/>
            <pc:sldMasterMk cId="516446058" sldId="2147484250"/>
            <pc:sldLayoutMk cId="3704435526" sldId="2147484259"/>
          </pc:sldLayoutMkLst>
        </pc:sldLayoutChg>
        <pc:sldLayoutChg chg="new del replId">
          <pc:chgData name="Michael Tull" userId="9b84a4a9-44d8-4d28-b1a8-900a431bc43d" providerId="ADAL" clId="{A04BA11E-879C-4F61-84D5-446AB79F79BC}" dt="2022-05-16T09:05:35.208" v="2416" actId="6938"/>
          <pc:sldLayoutMkLst>
            <pc:docMk/>
            <pc:sldMasterMk cId="516446058" sldId="2147484250"/>
            <pc:sldLayoutMk cId="1070552089" sldId="2147484260"/>
          </pc:sldLayoutMkLst>
        </pc:sldLayoutChg>
        <pc:sldLayoutChg chg="new del replId">
          <pc:chgData name="Michael Tull" userId="9b84a4a9-44d8-4d28-b1a8-900a431bc43d" providerId="ADAL" clId="{A04BA11E-879C-4F61-84D5-446AB79F79BC}" dt="2022-05-16T09:05:35.208" v="2416" actId="6938"/>
          <pc:sldLayoutMkLst>
            <pc:docMk/>
            <pc:sldMasterMk cId="516446058" sldId="2147484250"/>
            <pc:sldLayoutMk cId="951839875" sldId="2147484261"/>
          </pc:sldLayoutMkLst>
        </pc:sldLayoutChg>
      </pc:sldMasterChg>
      <pc:sldMasterChg chg="new del mod addSldLayout delSldLayout">
        <pc:chgData name="Michael Tull" userId="9b84a4a9-44d8-4d28-b1a8-900a431bc43d" providerId="ADAL" clId="{A04BA11E-879C-4F61-84D5-446AB79F79BC}" dt="2022-05-16T09:05:35.198" v="2415" actId="6938"/>
        <pc:sldMasterMkLst>
          <pc:docMk/>
          <pc:sldMasterMk cId="527477533" sldId="2147484262"/>
        </pc:sldMasterMkLst>
        <pc:sldLayoutChg chg="new del replId">
          <pc:chgData name="Michael Tull" userId="9b84a4a9-44d8-4d28-b1a8-900a431bc43d" providerId="ADAL" clId="{A04BA11E-879C-4F61-84D5-446AB79F79BC}" dt="2022-05-16T09:05:35.198" v="2415" actId="6938"/>
          <pc:sldLayoutMkLst>
            <pc:docMk/>
            <pc:sldMasterMk cId="527477533" sldId="2147484262"/>
            <pc:sldLayoutMk cId="1145822073" sldId="2147484263"/>
          </pc:sldLayoutMkLst>
        </pc:sldLayoutChg>
        <pc:sldLayoutChg chg="new del replId">
          <pc:chgData name="Michael Tull" userId="9b84a4a9-44d8-4d28-b1a8-900a431bc43d" providerId="ADAL" clId="{A04BA11E-879C-4F61-84D5-446AB79F79BC}" dt="2022-05-16T09:05:35.198" v="2415" actId="6938"/>
          <pc:sldLayoutMkLst>
            <pc:docMk/>
            <pc:sldMasterMk cId="527477533" sldId="2147484262"/>
            <pc:sldLayoutMk cId="1171382710" sldId="2147484264"/>
          </pc:sldLayoutMkLst>
        </pc:sldLayoutChg>
        <pc:sldLayoutChg chg="new del replId">
          <pc:chgData name="Michael Tull" userId="9b84a4a9-44d8-4d28-b1a8-900a431bc43d" providerId="ADAL" clId="{A04BA11E-879C-4F61-84D5-446AB79F79BC}" dt="2022-05-16T09:05:35.198" v="2415" actId="6938"/>
          <pc:sldLayoutMkLst>
            <pc:docMk/>
            <pc:sldMasterMk cId="527477533" sldId="2147484262"/>
            <pc:sldLayoutMk cId="39633480" sldId="2147484265"/>
          </pc:sldLayoutMkLst>
        </pc:sldLayoutChg>
        <pc:sldLayoutChg chg="new del replId">
          <pc:chgData name="Michael Tull" userId="9b84a4a9-44d8-4d28-b1a8-900a431bc43d" providerId="ADAL" clId="{A04BA11E-879C-4F61-84D5-446AB79F79BC}" dt="2022-05-16T09:05:35.198" v="2415" actId="6938"/>
          <pc:sldLayoutMkLst>
            <pc:docMk/>
            <pc:sldMasterMk cId="527477533" sldId="2147484262"/>
            <pc:sldLayoutMk cId="2753460084" sldId="2147484266"/>
          </pc:sldLayoutMkLst>
        </pc:sldLayoutChg>
        <pc:sldLayoutChg chg="new del replId">
          <pc:chgData name="Michael Tull" userId="9b84a4a9-44d8-4d28-b1a8-900a431bc43d" providerId="ADAL" clId="{A04BA11E-879C-4F61-84D5-446AB79F79BC}" dt="2022-05-16T09:05:35.198" v="2415" actId="6938"/>
          <pc:sldLayoutMkLst>
            <pc:docMk/>
            <pc:sldMasterMk cId="527477533" sldId="2147484262"/>
            <pc:sldLayoutMk cId="2392930750" sldId="2147484267"/>
          </pc:sldLayoutMkLst>
        </pc:sldLayoutChg>
        <pc:sldLayoutChg chg="new del replId">
          <pc:chgData name="Michael Tull" userId="9b84a4a9-44d8-4d28-b1a8-900a431bc43d" providerId="ADAL" clId="{A04BA11E-879C-4F61-84D5-446AB79F79BC}" dt="2022-05-16T09:05:35.198" v="2415" actId="6938"/>
          <pc:sldLayoutMkLst>
            <pc:docMk/>
            <pc:sldMasterMk cId="527477533" sldId="2147484262"/>
            <pc:sldLayoutMk cId="3258851738" sldId="2147484268"/>
          </pc:sldLayoutMkLst>
        </pc:sldLayoutChg>
        <pc:sldLayoutChg chg="new del replId">
          <pc:chgData name="Michael Tull" userId="9b84a4a9-44d8-4d28-b1a8-900a431bc43d" providerId="ADAL" clId="{A04BA11E-879C-4F61-84D5-446AB79F79BC}" dt="2022-05-16T09:05:35.198" v="2415" actId="6938"/>
          <pc:sldLayoutMkLst>
            <pc:docMk/>
            <pc:sldMasterMk cId="527477533" sldId="2147484262"/>
            <pc:sldLayoutMk cId="3684699002" sldId="2147484269"/>
          </pc:sldLayoutMkLst>
        </pc:sldLayoutChg>
        <pc:sldLayoutChg chg="new del replId">
          <pc:chgData name="Michael Tull" userId="9b84a4a9-44d8-4d28-b1a8-900a431bc43d" providerId="ADAL" clId="{A04BA11E-879C-4F61-84D5-446AB79F79BC}" dt="2022-05-16T09:05:35.198" v="2415" actId="6938"/>
          <pc:sldLayoutMkLst>
            <pc:docMk/>
            <pc:sldMasterMk cId="527477533" sldId="2147484262"/>
            <pc:sldLayoutMk cId="2853562560" sldId="2147484270"/>
          </pc:sldLayoutMkLst>
        </pc:sldLayoutChg>
        <pc:sldLayoutChg chg="new del replId">
          <pc:chgData name="Michael Tull" userId="9b84a4a9-44d8-4d28-b1a8-900a431bc43d" providerId="ADAL" clId="{A04BA11E-879C-4F61-84D5-446AB79F79BC}" dt="2022-05-16T09:05:35.198" v="2415" actId="6938"/>
          <pc:sldLayoutMkLst>
            <pc:docMk/>
            <pc:sldMasterMk cId="527477533" sldId="2147484262"/>
            <pc:sldLayoutMk cId="753957428" sldId="2147484271"/>
          </pc:sldLayoutMkLst>
        </pc:sldLayoutChg>
        <pc:sldLayoutChg chg="new del replId">
          <pc:chgData name="Michael Tull" userId="9b84a4a9-44d8-4d28-b1a8-900a431bc43d" providerId="ADAL" clId="{A04BA11E-879C-4F61-84D5-446AB79F79BC}" dt="2022-05-16T09:05:35.198" v="2415" actId="6938"/>
          <pc:sldLayoutMkLst>
            <pc:docMk/>
            <pc:sldMasterMk cId="527477533" sldId="2147484262"/>
            <pc:sldLayoutMk cId="4062521003" sldId="2147484272"/>
          </pc:sldLayoutMkLst>
        </pc:sldLayoutChg>
        <pc:sldLayoutChg chg="new del replId">
          <pc:chgData name="Michael Tull" userId="9b84a4a9-44d8-4d28-b1a8-900a431bc43d" providerId="ADAL" clId="{A04BA11E-879C-4F61-84D5-446AB79F79BC}" dt="2022-05-16T09:05:35.198" v="2415" actId="6938"/>
          <pc:sldLayoutMkLst>
            <pc:docMk/>
            <pc:sldMasterMk cId="527477533" sldId="2147484262"/>
            <pc:sldLayoutMk cId="572226390" sldId="2147484273"/>
          </pc:sldLayoutMkLst>
        </pc:sldLayoutChg>
      </pc:sldMasterChg>
      <pc:sldMasterChg chg="new del mod addSldLayout delSldLayout">
        <pc:chgData name="Michael Tull" userId="9b84a4a9-44d8-4d28-b1a8-900a431bc43d" providerId="ADAL" clId="{A04BA11E-879C-4F61-84D5-446AB79F79BC}" dt="2022-05-16T09:05:35.165" v="2414" actId="6938"/>
        <pc:sldMasterMkLst>
          <pc:docMk/>
          <pc:sldMasterMk cId="2410491690" sldId="2147484274"/>
        </pc:sldMasterMkLst>
        <pc:sldLayoutChg chg="new del replId">
          <pc:chgData name="Michael Tull" userId="9b84a4a9-44d8-4d28-b1a8-900a431bc43d" providerId="ADAL" clId="{A04BA11E-879C-4F61-84D5-446AB79F79BC}" dt="2022-05-16T09:05:35.165" v="2414" actId="6938"/>
          <pc:sldLayoutMkLst>
            <pc:docMk/>
            <pc:sldMasterMk cId="2410491690" sldId="2147484274"/>
            <pc:sldLayoutMk cId="567430464" sldId="2147484275"/>
          </pc:sldLayoutMkLst>
        </pc:sldLayoutChg>
        <pc:sldLayoutChg chg="new del replId">
          <pc:chgData name="Michael Tull" userId="9b84a4a9-44d8-4d28-b1a8-900a431bc43d" providerId="ADAL" clId="{A04BA11E-879C-4F61-84D5-446AB79F79BC}" dt="2022-05-16T09:05:35.165" v="2414" actId="6938"/>
          <pc:sldLayoutMkLst>
            <pc:docMk/>
            <pc:sldMasterMk cId="2410491690" sldId="2147484274"/>
            <pc:sldLayoutMk cId="4061357438" sldId="2147484276"/>
          </pc:sldLayoutMkLst>
        </pc:sldLayoutChg>
        <pc:sldLayoutChg chg="new del replId">
          <pc:chgData name="Michael Tull" userId="9b84a4a9-44d8-4d28-b1a8-900a431bc43d" providerId="ADAL" clId="{A04BA11E-879C-4F61-84D5-446AB79F79BC}" dt="2022-05-16T09:05:35.165" v="2414" actId="6938"/>
          <pc:sldLayoutMkLst>
            <pc:docMk/>
            <pc:sldMasterMk cId="2410491690" sldId="2147484274"/>
            <pc:sldLayoutMk cId="2294874275" sldId="2147484277"/>
          </pc:sldLayoutMkLst>
        </pc:sldLayoutChg>
        <pc:sldLayoutChg chg="new del replId">
          <pc:chgData name="Michael Tull" userId="9b84a4a9-44d8-4d28-b1a8-900a431bc43d" providerId="ADAL" clId="{A04BA11E-879C-4F61-84D5-446AB79F79BC}" dt="2022-05-16T09:05:35.165" v="2414" actId="6938"/>
          <pc:sldLayoutMkLst>
            <pc:docMk/>
            <pc:sldMasterMk cId="2410491690" sldId="2147484274"/>
            <pc:sldLayoutMk cId="3695142454" sldId="2147484278"/>
          </pc:sldLayoutMkLst>
        </pc:sldLayoutChg>
        <pc:sldLayoutChg chg="new del replId">
          <pc:chgData name="Michael Tull" userId="9b84a4a9-44d8-4d28-b1a8-900a431bc43d" providerId="ADAL" clId="{A04BA11E-879C-4F61-84D5-446AB79F79BC}" dt="2022-05-16T09:05:35.165" v="2414" actId="6938"/>
          <pc:sldLayoutMkLst>
            <pc:docMk/>
            <pc:sldMasterMk cId="2410491690" sldId="2147484274"/>
            <pc:sldLayoutMk cId="387520434" sldId="2147484279"/>
          </pc:sldLayoutMkLst>
        </pc:sldLayoutChg>
        <pc:sldLayoutChg chg="new del replId">
          <pc:chgData name="Michael Tull" userId="9b84a4a9-44d8-4d28-b1a8-900a431bc43d" providerId="ADAL" clId="{A04BA11E-879C-4F61-84D5-446AB79F79BC}" dt="2022-05-16T09:05:35.165" v="2414" actId="6938"/>
          <pc:sldLayoutMkLst>
            <pc:docMk/>
            <pc:sldMasterMk cId="2410491690" sldId="2147484274"/>
            <pc:sldLayoutMk cId="3197767540" sldId="2147484280"/>
          </pc:sldLayoutMkLst>
        </pc:sldLayoutChg>
        <pc:sldLayoutChg chg="new del replId">
          <pc:chgData name="Michael Tull" userId="9b84a4a9-44d8-4d28-b1a8-900a431bc43d" providerId="ADAL" clId="{A04BA11E-879C-4F61-84D5-446AB79F79BC}" dt="2022-05-16T09:05:35.165" v="2414" actId="6938"/>
          <pc:sldLayoutMkLst>
            <pc:docMk/>
            <pc:sldMasterMk cId="2410491690" sldId="2147484274"/>
            <pc:sldLayoutMk cId="926244681" sldId="2147484281"/>
          </pc:sldLayoutMkLst>
        </pc:sldLayoutChg>
        <pc:sldLayoutChg chg="new del replId">
          <pc:chgData name="Michael Tull" userId="9b84a4a9-44d8-4d28-b1a8-900a431bc43d" providerId="ADAL" clId="{A04BA11E-879C-4F61-84D5-446AB79F79BC}" dt="2022-05-16T09:05:35.165" v="2414" actId="6938"/>
          <pc:sldLayoutMkLst>
            <pc:docMk/>
            <pc:sldMasterMk cId="2410491690" sldId="2147484274"/>
            <pc:sldLayoutMk cId="1110543223" sldId="2147484282"/>
          </pc:sldLayoutMkLst>
        </pc:sldLayoutChg>
        <pc:sldLayoutChg chg="new del replId">
          <pc:chgData name="Michael Tull" userId="9b84a4a9-44d8-4d28-b1a8-900a431bc43d" providerId="ADAL" clId="{A04BA11E-879C-4F61-84D5-446AB79F79BC}" dt="2022-05-16T09:05:35.165" v="2414" actId="6938"/>
          <pc:sldLayoutMkLst>
            <pc:docMk/>
            <pc:sldMasterMk cId="2410491690" sldId="2147484274"/>
            <pc:sldLayoutMk cId="666011237" sldId="2147484283"/>
          </pc:sldLayoutMkLst>
        </pc:sldLayoutChg>
        <pc:sldLayoutChg chg="new del replId">
          <pc:chgData name="Michael Tull" userId="9b84a4a9-44d8-4d28-b1a8-900a431bc43d" providerId="ADAL" clId="{A04BA11E-879C-4F61-84D5-446AB79F79BC}" dt="2022-05-16T09:05:35.165" v="2414" actId="6938"/>
          <pc:sldLayoutMkLst>
            <pc:docMk/>
            <pc:sldMasterMk cId="2410491690" sldId="2147484274"/>
            <pc:sldLayoutMk cId="1006636560" sldId="2147484284"/>
          </pc:sldLayoutMkLst>
        </pc:sldLayoutChg>
        <pc:sldLayoutChg chg="new del replId">
          <pc:chgData name="Michael Tull" userId="9b84a4a9-44d8-4d28-b1a8-900a431bc43d" providerId="ADAL" clId="{A04BA11E-879C-4F61-84D5-446AB79F79BC}" dt="2022-05-16T09:05:35.165" v="2414" actId="6938"/>
          <pc:sldLayoutMkLst>
            <pc:docMk/>
            <pc:sldMasterMk cId="2410491690" sldId="2147484274"/>
            <pc:sldLayoutMk cId="679213484" sldId="2147484285"/>
          </pc:sldLayoutMkLst>
        </pc:sldLayoutChg>
      </pc:sldMasterChg>
      <pc:sldMasterChg chg="new del mod addSldLayout delSldLayout">
        <pc:chgData name="Michael Tull" userId="9b84a4a9-44d8-4d28-b1a8-900a431bc43d" providerId="ADAL" clId="{A04BA11E-879C-4F61-84D5-446AB79F79BC}" dt="2022-05-16T09:05:35.074" v="2413" actId="6938"/>
        <pc:sldMasterMkLst>
          <pc:docMk/>
          <pc:sldMasterMk cId="927204153" sldId="2147484286"/>
        </pc:sldMasterMkLst>
        <pc:sldLayoutChg chg="new del replId">
          <pc:chgData name="Michael Tull" userId="9b84a4a9-44d8-4d28-b1a8-900a431bc43d" providerId="ADAL" clId="{A04BA11E-879C-4F61-84D5-446AB79F79BC}" dt="2022-05-16T09:05:35.074" v="2413" actId="6938"/>
          <pc:sldLayoutMkLst>
            <pc:docMk/>
            <pc:sldMasterMk cId="927204153" sldId="2147484286"/>
            <pc:sldLayoutMk cId="26328739" sldId="2147484287"/>
          </pc:sldLayoutMkLst>
        </pc:sldLayoutChg>
        <pc:sldLayoutChg chg="new del replId">
          <pc:chgData name="Michael Tull" userId="9b84a4a9-44d8-4d28-b1a8-900a431bc43d" providerId="ADAL" clId="{A04BA11E-879C-4F61-84D5-446AB79F79BC}" dt="2022-05-16T09:05:35.074" v="2413" actId="6938"/>
          <pc:sldLayoutMkLst>
            <pc:docMk/>
            <pc:sldMasterMk cId="927204153" sldId="2147484286"/>
            <pc:sldLayoutMk cId="116072501" sldId="2147484288"/>
          </pc:sldLayoutMkLst>
        </pc:sldLayoutChg>
        <pc:sldLayoutChg chg="new del replId">
          <pc:chgData name="Michael Tull" userId="9b84a4a9-44d8-4d28-b1a8-900a431bc43d" providerId="ADAL" clId="{A04BA11E-879C-4F61-84D5-446AB79F79BC}" dt="2022-05-16T09:05:35.074" v="2413" actId="6938"/>
          <pc:sldLayoutMkLst>
            <pc:docMk/>
            <pc:sldMasterMk cId="927204153" sldId="2147484286"/>
            <pc:sldLayoutMk cId="1841304961" sldId="2147484289"/>
          </pc:sldLayoutMkLst>
        </pc:sldLayoutChg>
        <pc:sldLayoutChg chg="new del replId">
          <pc:chgData name="Michael Tull" userId="9b84a4a9-44d8-4d28-b1a8-900a431bc43d" providerId="ADAL" clId="{A04BA11E-879C-4F61-84D5-446AB79F79BC}" dt="2022-05-16T09:05:35.074" v="2413" actId="6938"/>
          <pc:sldLayoutMkLst>
            <pc:docMk/>
            <pc:sldMasterMk cId="927204153" sldId="2147484286"/>
            <pc:sldLayoutMk cId="1008363126" sldId="2147484290"/>
          </pc:sldLayoutMkLst>
        </pc:sldLayoutChg>
        <pc:sldLayoutChg chg="new del replId">
          <pc:chgData name="Michael Tull" userId="9b84a4a9-44d8-4d28-b1a8-900a431bc43d" providerId="ADAL" clId="{A04BA11E-879C-4F61-84D5-446AB79F79BC}" dt="2022-05-16T09:05:35.074" v="2413" actId="6938"/>
          <pc:sldLayoutMkLst>
            <pc:docMk/>
            <pc:sldMasterMk cId="927204153" sldId="2147484286"/>
            <pc:sldLayoutMk cId="3606197743" sldId="2147484291"/>
          </pc:sldLayoutMkLst>
        </pc:sldLayoutChg>
        <pc:sldLayoutChg chg="new del replId">
          <pc:chgData name="Michael Tull" userId="9b84a4a9-44d8-4d28-b1a8-900a431bc43d" providerId="ADAL" clId="{A04BA11E-879C-4F61-84D5-446AB79F79BC}" dt="2022-05-16T09:05:35.074" v="2413" actId="6938"/>
          <pc:sldLayoutMkLst>
            <pc:docMk/>
            <pc:sldMasterMk cId="927204153" sldId="2147484286"/>
            <pc:sldLayoutMk cId="2494815509" sldId="2147484292"/>
          </pc:sldLayoutMkLst>
        </pc:sldLayoutChg>
        <pc:sldLayoutChg chg="new del replId">
          <pc:chgData name="Michael Tull" userId="9b84a4a9-44d8-4d28-b1a8-900a431bc43d" providerId="ADAL" clId="{A04BA11E-879C-4F61-84D5-446AB79F79BC}" dt="2022-05-16T09:05:35.074" v="2413" actId="6938"/>
          <pc:sldLayoutMkLst>
            <pc:docMk/>
            <pc:sldMasterMk cId="927204153" sldId="2147484286"/>
            <pc:sldLayoutMk cId="93002385" sldId="2147484293"/>
          </pc:sldLayoutMkLst>
        </pc:sldLayoutChg>
        <pc:sldLayoutChg chg="new del replId">
          <pc:chgData name="Michael Tull" userId="9b84a4a9-44d8-4d28-b1a8-900a431bc43d" providerId="ADAL" clId="{A04BA11E-879C-4F61-84D5-446AB79F79BC}" dt="2022-05-16T09:05:35.074" v="2413" actId="6938"/>
          <pc:sldLayoutMkLst>
            <pc:docMk/>
            <pc:sldMasterMk cId="927204153" sldId="2147484286"/>
            <pc:sldLayoutMk cId="1593067385" sldId="2147484294"/>
          </pc:sldLayoutMkLst>
        </pc:sldLayoutChg>
        <pc:sldLayoutChg chg="new del replId">
          <pc:chgData name="Michael Tull" userId="9b84a4a9-44d8-4d28-b1a8-900a431bc43d" providerId="ADAL" clId="{A04BA11E-879C-4F61-84D5-446AB79F79BC}" dt="2022-05-16T09:05:35.074" v="2413" actId="6938"/>
          <pc:sldLayoutMkLst>
            <pc:docMk/>
            <pc:sldMasterMk cId="927204153" sldId="2147484286"/>
            <pc:sldLayoutMk cId="3571518934" sldId="2147484295"/>
          </pc:sldLayoutMkLst>
        </pc:sldLayoutChg>
        <pc:sldLayoutChg chg="new del replId">
          <pc:chgData name="Michael Tull" userId="9b84a4a9-44d8-4d28-b1a8-900a431bc43d" providerId="ADAL" clId="{A04BA11E-879C-4F61-84D5-446AB79F79BC}" dt="2022-05-16T09:05:35.074" v="2413" actId="6938"/>
          <pc:sldLayoutMkLst>
            <pc:docMk/>
            <pc:sldMasterMk cId="927204153" sldId="2147484286"/>
            <pc:sldLayoutMk cId="2413982527" sldId="2147484296"/>
          </pc:sldLayoutMkLst>
        </pc:sldLayoutChg>
        <pc:sldLayoutChg chg="new del replId">
          <pc:chgData name="Michael Tull" userId="9b84a4a9-44d8-4d28-b1a8-900a431bc43d" providerId="ADAL" clId="{A04BA11E-879C-4F61-84D5-446AB79F79BC}" dt="2022-05-16T09:05:35.074" v="2413" actId="6938"/>
          <pc:sldLayoutMkLst>
            <pc:docMk/>
            <pc:sldMasterMk cId="927204153" sldId="2147484286"/>
            <pc:sldLayoutMk cId="96235759" sldId="2147484297"/>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836786009350483E-2"/>
          <c:y val="2.606507094722197E-2"/>
          <c:w val="0.96498865067106998"/>
          <c:h val="0.86372895564510899"/>
        </c:manualLayout>
      </c:layout>
      <c:barChart>
        <c:barDir val="col"/>
        <c:grouping val="clustered"/>
        <c:varyColors val="0"/>
        <c:ser>
          <c:idx val="1"/>
          <c:order val="0"/>
          <c:tx>
            <c:strRef>
              <c:f>Sheet1!$A$2</c:f>
              <c:strCache>
                <c:ptCount val="1"/>
                <c:pt idx="0">
                  <c:v>All Adults</c:v>
                </c:pt>
              </c:strCache>
            </c:strRef>
          </c:tx>
          <c:spPr>
            <a:solidFill>
              <a:schemeClr val="tx1"/>
            </a:solidFill>
            <a:ln w="14869">
              <a:noFill/>
              <a:prstDash val="solid"/>
            </a:ln>
          </c:spPr>
          <c:invertIfNegative val="0"/>
          <c:dPt>
            <c:idx val="2"/>
            <c:invertIfNegative val="0"/>
            <c:bubble3D val="0"/>
            <c:extLst>
              <c:ext xmlns:c16="http://schemas.microsoft.com/office/drawing/2014/chart" uri="{C3380CC4-5D6E-409C-BE32-E72D297353CC}">
                <c16:uniqueId val="{00000001-24B2-4B25-B3BD-750579B256FC}"/>
              </c:ext>
            </c:extLst>
          </c:dPt>
          <c:dLbls>
            <c:spPr>
              <a:noFill/>
              <a:ln>
                <a:noFill/>
              </a:ln>
              <a:effectLst/>
            </c:spPr>
            <c:txPr>
              <a:bodyPr wrap="square" lIns="38100" tIns="19050" rIns="38100" bIns="19050" anchor="ctr">
                <a:spAutoFit/>
              </a:bodyPr>
              <a:lstStyle/>
              <a:p>
                <a:pPr>
                  <a:defRPr sz="1400" b="0">
                    <a:solidFill>
                      <a:schemeClr val="accent6"/>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M$1</c:f>
              <c:strCache>
                <c:ptCount val="12"/>
                <c:pt idx="0">
                  <c:v>Restaurants</c:v>
                </c:pt>
                <c:pt idx="1">
                  <c:v>Pubs &amp; Bars</c:v>
                </c:pt>
                <c:pt idx="2">
                  <c:v>Holidays</c:v>
                </c:pt>
                <c:pt idx="3">
                  <c:v>Cinema</c:v>
                </c:pt>
                <c:pt idx="4">
                  <c:v>Played individual/team sport</c:v>
                </c:pt>
                <c:pt idx="5">
                  <c:v>Leisure Centres/Gyms and Health Clubs</c:v>
                </c:pt>
                <c:pt idx="6">
                  <c:v>Live music concerts/gigs</c:v>
                </c:pt>
                <c:pt idx="7">
                  <c:v>Theatre (plays or musicals)</c:v>
                </c:pt>
                <c:pt idx="8">
                  <c:v>Museums</c:v>
                </c:pt>
                <c:pt idx="9">
                  <c:v>Art galleries / exhibitions</c:v>
                </c:pt>
                <c:pt idx="10">
                  <c:v>Theme Parks</c:v>
                </c:pt>
                <c:pt idx="11">
                  <c:v>Live comedy</c:v>
                </c:pt>
              </c:strCache>
            </c:strRef>
          </c:cat>
          <c:val>
            <c:numRef>
              <c:f>Sheet1!$B$2:$M$2</c:f>
              <c:numCache>
                <c:formatCode>#,##0.0</c:formatCode>
                <c:ptCount val="12"/>
                <c:pt idx="0">
                  <c:v>65.099999999999994</c:v>
                </c:pt>
                <c:pt idx="1">
                  <c:v>63.1</c:v>
                </c:pt>
                <c:pt idx="2">
                  <c:v>54.6</c:v>
                </c:pt>
                <c:pt idx="3">
                  <c:v>49.2</c:v>
                </c:pt>
                <c:pt idx="4">
                  <c:v>36.799999999999997</c:v>
                </c:pt>
                <c:pt idx="5">
                  <c:v>27.3</c:v>
                </c:pt>
                <c:pt idx="6">
                  <c:v>25.2</c:v>
                </c:pt>
                <c:pt idx="7">
                  <c:v>22.7</c:v>
                </c:pt>
                <c:pt idx="8">
                  <c:v>19.8</c:v>
                </c:pt>
                <c:pt idx="9">
                  <c:v>15.2</c:v>
                </c:pt>
                <c:pt idx="10">
                  <c:v>14</c:v>
                </c:pt>
                <c:pt idx="11">
                  <c:v>11.3</c:v>
                </c:pt>
              </c:numCache>
            </c:numRef>
          </c:val>
          <c:extLst>
            <c:ext xmlns:c16="http://schemas.microsoft.com/office/drawing/2014/chart" uri="{C3380CC4-5D6E-409C-BE32-E72D297353CC}">
              <c16:uniqueId val="{00000000-8005-48ED-9AEA-FEA72E5D53DD}"/>
            </c:ext>
          </c:extLst>
        </c:ser>
        <c:ser>
          <c:idx val="0"/>
          <c:order val="1"/>
          <c:tx>
            <c:strRef>
              <c:f>Sheet1!$A$3</c:f>
              <c:strCache>
                <c:ptCount val="1"/>
                <c:pt idx="0">
                  <c:v>16-34</c:v>
                </c:pt>
              </c:strCache>
            </c:strRef>
          </c:tx>
          <c:spPr>
            <a:solidFill>
              <a:schemeClr val="accent4"/>
            </a:solidFill>
          </c:spPr>
          <c:invertIfNegative val="0"/>
          <c:dLbls>
            <c:spPr>
              <a:noFill/>
              <a:ln>
                <a:noFill/>
              </a:ln>
              <a:effectLst/>
            </c:spPr>
            <c:txPr>
              <a:bodyPr wrap="square" lIns="38100" tIns="19050" rIns="38100" bIns="19050" anchor="ctr">
                <a:spAutoFit/>
              </a:bodyPr>
              <a:lstStyle/>
              <a:p>
                <a:pPr>
                  <a:defRPr sz="1400" b="0">
                    <a:solidFill>
                      <a:schemeClr val="accent6"/>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M$1</c:f>
              <c:strCache>
                <c:ptCount val="12"/>
                <c:pt idx="0">
                  <c:v>Restaurants</c:v>
                </c:pt>
                <c:pt idx="1">
                  <c:v>Pubs &amp; Bars</c:v>
                </c:pt>
                <c:pt idx="2">
                  <c:v>Holidays</c:v>
                </c:pt>
                <c:pt idx="3">
                  <c:v>Cinema</c:v>
                </c:pt>
                <c:pt idx="4">
                  <c:v>Played individual/team sport</c:v>
                </c:pt>
                <c:pt idx="5">
                  <c:v>Leisure Centres/Gyms and Health Clubs</c:v>
                </c:pt>
                <c:pt idx="6">
                  <c:v>Live music concerts/gigs</c:v>
                </c:pt>
                <c:pt idx="7">
                  <c:v>Theatre (plays or musicals)</c:v>
                </c:pt>
                <c:pt idx="8">
                  <c:v>Museums</c:v>
                </c:pt>
                <c:pt idx="9">
                  <c:v>Art galleries / exhibitions</c:v>
                </c:pt>
                <c:pt idx="10">
                  <c:v>Theme Parks</c:v>
                </c:pt>
                <c:pt idx="11">
                  <c:v>Live comedy</c:v>
                </c:pt>
              </c:strCache>
            </c:strRef>
          </c:cat>
          <c:val>
            <c:numRef>
              <c:f>Sheet1!$B$3:$M$3</c:f>
              <c:numCache>
                <c:formatCode>#,##0.0</c:formatCode>
                <c:ptCount val="12"/>
                <c:pt idx="0">
                  <c:v>63.8</c:v>
                </c:pt>
                <c:pt idx="1">
                  <c:v>55.5</c:v>
                </c:pt>
                <c:pt idx="2">
                  <c:v>45.6</c:v>
                </c:pt>
                <c:pt idx="3">
                  <c:v>60.9</c:v>
                </c:pt>
                <c:pt idx="4">
                  <c:v>48.3</c:v>
                </c:pt>
                <c:pt idx="5">
                  <c:v>40.4</c:v>
                </c:pt>
                <c:pt idx="6">
                  <c:v>27.3</c:v>
                </c:pt>
                <c:pt idx="7">
                  <c:v>23.5</c:v>
                </c:pt>
                <c:pt idx="8">
                  <c:v>20.2</c:v>
                </c:pt>
                <c:pt idx="9">
                  <c:v>15.6</c:v>
                </c:pt>
                <c:pt idx="10">
                  <c:v>22</c:v>
                </c:pt>
                <c:pt idx="11">
                  <c:v>15</c:v>
                </c:pt>
              </c:numCache>
            </c:numRef>
          </c:val>
          <c:extLst>
            <c:ext xmlns:c16="http://schemas.microsoft.com/office/drawing/2014/chart" uri="{C3380CC4-5D6E-409C-BE32-E72D297353CC}">
              <c16:uniqueId val="{00000003-E1DB-4291-AB89-F3EF6412D86F}"/>
            </c:ext>
          </c:extLst>
        </c:ser>
        <c:dLbls>
          <c:showLegendKey val="0"/>
          <c:showVal val="0"/>
          <c:showCatName val="0"/>
          <c:showSerName val="0"/>
          <c:showPercent val="0"/>
          <c:showBubbleSize val="0"/>
        </c:dLbls>
        <c:gapWidth val="150"/>
        <c:axId val="-283599120"/>
        <c:axId val="-283576384"/>
      </c:barChart>
      <c:catAx>
        <c:axId val="-283599120"/>
        <c:scaling>
          <c:orientation val="minMax"/>
        </c:scaling>
        <c:delete val="0"/>
        <c:axPos val="b"/>
        <c:numFmt formatCode="General" sourceLinked="1"/>
        <c:majorTickMark val="out"/>
        <c:minorTickMark val="none"/>
        <c:tickLblPos val="nextTo"/>
        <c:spPr>
          <a:ln w="9525">
            <a:solidFill>
              <a:schemeClr val="accent6"/>
            </a:solidFill>
            <a:prstDash val="solid"/>
          </a:ln>
        </c:spPr>
        <c:txPr>
          <a:bodyPr rot="0" vert="horz"/>
          <a:lstStyle/>
          <a:p>
            <a:pPr>
              <a:defRPr sz="1050" b="0" i="0" u="none" strike="noStrike" baseline="0">
                <a:solidFill>
                  <a:schemeClr val="accent6"/>
                </a:solidFill>
                <a:latin typeface="Arial" charset="0"/>
                <a:ea typeface="Arial" charset="0"/>
                <a:cs typeface="Arial" charset="0"/>
              </a:defRPr>
            </a:pPr>
            <a:endParaRPr lang="en-US"/>
          </a:p>
        </c:txPr>
        <c:crossAx val="-283576384"/>
        <c:crosses val="autoZero"/>
        <c:auto val="0"/>
        <c:lblAlgn val="ctr"/>
        <c:lblOffset val="100"/>
        <c:tickLblSkip val="1"/>
        <c:tickMarkSkip val="1"/>
        <c:noMultiLvlLbl val="0"/>
      </c:catAx>
      <c:valAx>
        <c:axId val="-283576384"/>
        <c:scaling>
          <c:orientation val="minMax"/>
        </c:scaling>
        <c:delete val="1"/>
        <c:axPos val="l"/>
        <c:numFmt formatCode="#,##0.0" sourceLinked="1"/>
        <c:majorTickMark val="out"/>
        <c:minorTickMark val="none"/>
        <c:tickLblPos val="nextTo"/>
        <c:crossAx val="-283599120"/>
        <c:crosses val="autoZero"/>
        <c:crossBetween val="between"/>
      </c:valAx>
      <c:spPr>
        <a:noFill/>
        <a:ln w="29738">
          <a:noFill/>
        </a:ln>
      </c:spPr>
    </c:plotArea>
    <c:legend>
      <c:legendPos val="t"/>
      <c:layout>
        <c:manualLayout>
          <c:xMode val="edge"/>
          <c:yMode val="edge"/>
          <c:x val="0.74370434467507451"/>
          <c:y val="0.10747642305454731"/>
          <c:w val="0.17011881189337075"/>
          <c:h val="4.8299011787726019E-2"/>
        </c:manualLayout>
      </c:layout>
      <c:overlay val="0"/>
      <c:txPr>
        <a:bodyPr/>
        <a:lstStyle/>
        <a:p>
          <a:pPr>
            <a:defRPr sz="1400" b="0">
              <a:solidFill>
                <a:schemeClr val="accent6"/>
              </a:solidFill>
            </a:defRPr>
          </a:pPr>
          <a:endParaRPr lang="en-US"/>
        </a:p>
      </c:txPr>
    </c:legend>
    <c:plotVisOnly val="1"/>
    <c:dispBlanksAs val="gap"/>
    <c:showDLblsOverMax val="0"/>
  </c:chart>
  <c:spPr>
    <a:noFill/>
    <a:ln>
      <a:noFill/>
    </a:ln>
  </c:spPr>
  <c:txPr>
    <a:bodyPr/>
    <a:lstStyle/>
    <a:p>
      <a:pPr>
        <a:defRPr sz="937" b="1" i="0" u="none" strike="noStrike" baseline="0">
          <a:solidFill>
            <a:schemeClr val="tx1"/>
          </a:solidFill>
          <a:latin typeface="Calibri"/>
          <a:ea typeface="Calibri"/>
          <a:cs typeface="Calibri"/>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0" i="0" u="sng" strike="noStrike" kern="1200" spc="0" baseline="0">
              <a:solidFill>
                <a:schemeClr val="accent6"/>
              </a:solidFill>
              <a:latin typeface="+mn-lt"/>
              <a:ea typeface="+mn-ea"/>
              <a:cs typeface="+mn-cs"/>
            </a:defRPr>
          </a:pPr>
          <a:endParaRPr lang="en-US"/>
        </a:p>
      </c:txPr>
    </c:title>
    <c:autoTitleDeleted val="0"/>
    <c:plotArea>
      <c:layout>
        <c:manualLayout>
          <c:layoutTarget val="inner"/>
          <c:xMode val="edge"/>
          <c:yMode val="edge"/>
          <c:x val="2.4129371703320107E-2"/>
          <c:y val="9.0502120865092489E-2"/>
          <c:w val="0.95174125659335984"/>
          <c:h val="0.76551139506844357"/>
        </c:manualLayout>
      </c:layout>
      <c:lineChart>
        <c:grouping val="standard"/>
        <c:varyColors val="0"/>
        <c:ser>
          <c:idx val="0"/>
          <c:order val="0"/>
          <c:tx>
            <c:strRef>
              <c:f>Sheet1!$B$1</c:f>
              <c:strCache>
                <c:ptCount val="1"/>
                <c:pt idx="0">
                  <c:v>Average ticket price</c:v>
                </c:pt>
              </c:strCache>
            </c:strRef>
          </c:tx>
          <c:spPr>
            <a:ln w="19050" cap="rnd">
              <a:solidFill>
                <a:schemeClr val="bg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2"/>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2</c:f>
              <c:numCache>
                <c:formatCode>General</c:formatCode>
                <c:ptCount val="11"/>
                <c:pt idx="0">
                  <c:v>2013</c:v>
                </c:pt>
                <c:pt idx="1">
                  <c:v>2014</c:v>
                </c:pt>
                <c:pt idx="2">
                  <c:v>2015</c:v>
                </c:pt>
                <c:pt idx="3">
                  <c:v>2016</c:v>
                </c:pt>
                <c:pt idx="4">
                  <c:v>2017</c:v>
                </c:pt>
                <c:pt idx="5">
                  <c:v>2018</c:v>
                </c:pt>
                <c:pt idx="6">
                  <c:v>2019</c:v>
                </c:pt>
                <c:pt idx="7">
                  <c:v>2020</c:v>
                </c:pt>
                <c:pt idx="8">
                  <c:v>2021</c:v>
                </c:pt>
                <c:pt idx="9">
                  <c:v>2022</c:v>
                </c:pt>
                <c:pt idx="10">
                  <c:v>2023</c:v>
                </c:pt>
              </c:numCache>
            </c:numRef>
          </c:cat>
          <c:val>
            <c:numRef>
              <c:f>Sheet1!$B$2:$B$12</c:f>
              <c:numCache>
                <c:formatCode>"£"#,##0.00</c:formatCode>
                <c:ptCount val="11"/>
                <c:pt idx="0">
                  <c:v>6.53</c:v>
                </c:pt>
                <c:pt idx="1">
                  <c:v>6.72</c:v>
                </c:pt>
                <c:pt idx="2">
                  <c:v>7.21</c:v>
                </c:pt>
                <c:pt idx="3">
                  <c:v>7.41</c:v>
                </c:pt>
                <c:pt idx="4">
                  <c:v>7.49</c:v>
                </c:pt>
                <c:pt idx="5">
                  <c:v>7.22</c:v>
                </c:pt>
                <c:pt idx="6">
                  <c:v>7.11</c:v>
                </c:pt>
                <c:pt idx="7">
                  <c:v>6.75</c:v>
                </c:pt>
                <c:pt idx="8">
                  <c:v>7.52</c:v>
                </c:pt>
                <c:pt idx="9">
                  <c:v>7.69</c:v>
                </c:pt>
                <c:pt idx="10">
                  <c:v>7.92</c:v>
                </c:pt>
              </c:numCache>
            </c:numRef>
          </c:val>
          <c:smooth val="1"/>
          <c:extLst>
            <c:ext xmlns:c16="http://schemas.microsoft.com/office/drawing/2014/chart" uri="{C3380CC4-5D6E-409C-BE32-E72D297353CC}">
              <c16:uniqueId val="{00000000-5C2B-4F87-AC4C-A353FE14F596}"/>
            </c:ext>
          </c:extLst>
        </c:ser>
        <c:dLbls>
          <c:showLegendKey val="0"/>
          <c:showVal val="0"/>
          <c:showCatName val="0"/>
          <c:showSerName val="0"/>
          <c:showPercent val="0"/>
          <c:showBubbleSize val="0"/>
        </c:dLbls>
        <c:smooth val="0"/>
        <c:axId val="500810792"/>
        <c:axId val="500811120"/>
      </c:lineChart>
      <c:catAx>
        <c:axId val="500810792"/>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500811120"/>
        <c:crosses val="autoZero"/>
        <c:auto val="1"/>
        <c:lblAlgn val="ctr"/>
        <c:lblOffset val="100"/>
        <c:noMultiLvlLbl val="1"/>
      </c:catAx>
      <c:valAx>
        <c:axId val="500811120"/>
        <c:scaling>
          <c:orientation val="minMax"/>
          <c:max val="15"/>
          <c:min val="0"/>
        </c:scaling>
        <c:delete val="1"/>
        <c:axPos val="l"/>
        <c:numFmt formatCode="&quot;£&quot;#,##0.00" sourceLinked="1"/>
        <c:majorTickMark val="out"/>
        <c:minorTickMark val="none"/>
        <c:tickLblPos val="nextTo"/>
        <c:crossAx val="5008107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329317269076302E-2"/>
          <c:y val="5.93220338983051E-2"/>
          <c:w val="0.88596279498866704"/>
          <c:h val="0.75706214689265505"/>
        </c:manualLayout>
      </c:layout>
      <c:barChart>
        <c:barDir val="col"/>
        <c:grouping val="clustered"/>
        <c:varyColors val="0"/>
        <c:ser>
          <c:idx val="1"/>
          <c:order val="0"/>
          <c:tx>
            <c:strRef>
              <c:f>Sheet1!$A$2</c:f>
              <c:strCache>
                <c:ptCount val="1"/>
                <c:pt idx="0">
                  <c:v>admissions</c:v>
                </c:pt>
              </c:strCache>
            </c:strRef>
          </c:tx>
          <c:spPr>
            <a:solidFill>
              <a:schemeClr val="bg2"/>
            </a:solidFill>
            <a:ln w="14869">
              <a:noFill/>
              <a:prstDash val="solid"/>
            </a:ln>
          </c:spPr>
          <c:invertIfNegative val="0"/>
          <c:dPt>
            <c:idx val="21"/>
            <c:invertIfNegative val="0"/>
            <c:bubble3D val="0"/>
            <c:extLst>
              <c:ext xmlns:c16="http://schemas.microsoft.com/office/drawing/2014/chart" uri="{C3380CC4-5D6E-409C-BE32-E72D297353CC}">
                <c16:uniqueId val="{00000001-B029-439B-8674-F4CD89CC815E}"/>
              </c:ext>
            </c:extLst>
          </c:dPt>
          <c:dPt>
            <c:idx val="22"/>
            <c:invertIfNegative val="0"/>
            <c:bubble3D val="0"/>
            <c:extLst>
              <c:ext xmlns:c16="http://schemas.microsoft.com/office/drawing/2014/chart" uri="{C3380CC4-5D6E-409C-BE32-E72D297353CC}">
                <c16:uniqueId val="{00000002-B029-439B-8674-F4CD89CC815E}"/>
              </c:ext>
            </c:extLst>
          </c:dPt>
          <c:dPt>
            <c:idx val="23"/>
            <c:invertIfNegative val="0"/>
            <c:bubble3D val="0"/>
            <c:spPr>
              <a:solidFill>
                <a:schemeClr val="tx1"/>
              </a:solidFill>
              <a:ln w="14869">
                <a:noFill/>
                <a:prstDash val="solid"/>
              </a:ln>
            </c:spPr>
            <c:extLst>
              <c:ext xmlns:c16="http://schemas.microsoft.com/office/drawing/2014/chart" uri="{C3380CC4-5D6E-409C-BE32-E72D297353CC}">
                <c16:uniqueId val="{00000003-E8BA-4E61-B98E-942620355E2F}"/>
              </c:ext>
            </c:extLst>
          </c:dPt>
          <c:cat>
            <c:numRef>
              <c:f>Sheet1!$B$1:$Y$1</c:f>
              <c:numCache>
                <c:formatCode>General</c:formatCode>
                <c:ptCount val="24"/>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pt idx="22">
                  <c:v>2023</c:v>
                </c:pt>
                <c:pt idx="23">
                  <c:v>2024</c:v>
                </c:pt>
              </c:numCache>
            </c:numRef>
          </c:cat>
          <c:val>
            <c:numRef>
              <c:f>Sheet1!$B$2:$Y$2</c:f>
              <c:numCache>
                <c:formatCode>General</c:formatCode>
                <c:ptCount val="24"/>
                <c:pt idx="0">
                  <c:v>155.91078099999999</c:v>
                </c:pt>
                <c:pt idx="1">
                  <c:v>175.90253300000001</c:v>
                </c:pt>
                <c:pt idx="2">
                  <c:v>167.25586089999999</c:v>
                </c:pt>
                <c:pt idx="3">
                  <c:v>171.25206660000001</c:v>
                </c:pt>
                <c:pt idx="4">
                  <c:v>164.691778</c:v>
                </c:pt>
                <c:pt idx="5">
                  <c:v>156.56040200000001</c:v>
                </c:pt>
                <c:pt idx="6">
                  <c:v>162.42701600000001</c:v>
                </c:pt>
                <c:pt idx="7">
                  <c:v>164.222082</c:v>
                </c:pt>
                <c:pt idx="8">
                  <c:v>173.5</c:v>
                </c:pt>
                <c:pt idx="9">
                  <c:v>169.2</c:v>
                </c:pt>
                <c:pt idx="10">
                  <c:v>171.5</c:v>
                </c:pt>
                <c:pt idx="11">
                  <c:v>172.5</c:v>
                </c:pt>
                <c:pt idx="12">
                  <c:v>164.5</c:v>
                </c:pt>
                <c:pt idx="13">
                  <c:v>156</c:v>
                </c:pt>
                <c:pt idx="14">
                  <c:v>172</c:v>
                </c:pt>
                <c:pt idx="15">
                  <c:v>168</c:v>
                </c:pt>
                <c:pt idx="16">
                  <c:v>171</c:v>
                </c:pt>
                <c:pt idx="17">
                  <c:v>177</c:v>
                </c:pt>
                <c:pt idx="18">
                  <c:v>177</c:v>
                </c:pt>
                <c:pt idx="19">
                  <c:v>44</c:v>
                </c:pt>
                <c:pt idx="20">
                  <c:v>74</c:v>
                </c:pt>
                <c:pt idx="21">
                  <c:v>116</c:v>
                </c:pt>
                <c:pt idx="22">
                  <c:v>123.6</c:v>
                </c:pt>
                <c:pt idx="23">
                  <c:v>127</c:v>
                </c:pt>
              </c:numCache>
            </c:numRef>
          </c:val>
          <c:extLst>
            <c:ext xmlns:c16="http://schemas.microsoft.com/office/drawing/2014/chart" uri="{C3380CC4-5D6E-409C-BE32-E72D297353CC}">
              <c16:uniqueId val="{00000000-8005-48ED-9AEA-FEA72E5D53DD}"/>
            </c:ext>
          </c:extLst>
        </c:ser>
        <c:dLbls>
          <c:showLegendKey val="0"/>
          <c:showVal val="0"/>
          <c:showCatName val="0"/>
          <c:showSerName val="0"/>
          <c:showPercent val="0"/>
          <c:showBubbleSize val="0"/>
        </c:dLbls>
        <c:gapWidth val="150"/>
        <c:axId val="-283599120"/>
        <c:axId val="-283576384"/>
      </c:barChart>
      <c:catAx>
        <c:axId val="-283599120"/>
        <c:scaling>
          <c:orientation val="minMax"/>
        </c:scaling>
        <c:delete val="0"/>
        <c:axPos val="b"/>
        <c:numFmt formatCode="General" sourceLinked="1"/>
        <c:majorTickMark val="out"/>
        <c:minorTickMark val="none"/>
        <c:tickLblPos val="nextTo"/>
        <c:spPr>
          <a:ln w="9525">
            <a:solidFill>
              <a:schemeClr val="accent6"/>
            </a:solidFill>
            <a:prstDash val="solid"/>
          </a:ln>
        </c:spPr>
        <c:txPr>
          <a:bodyPr rot="-5400000" vert="horz"/>
          <a:lstStyle/>
          <a:p>
            <a:pPr>
              <a:defRPr sz="1000" b="1" i="0" u="none" strike="noStrike" baseline="0">
                <a:solidFill>
                  <a:schemeClr val="accent6"/>
                </a:solidFill>
                <a:latin typeface="Arial" charset="0"/>
                <a:ea typeface="Arial" charset="0"/>
                <a:cs typeface="Arial" charset="0"/>
              </a:defRPr>
            </a:pPr>
            <a:endParaRPr lang="en-US"/>
          </a:p>
        </c:txPr>
        <c:crossAx val="-283576384"/>
        <c:crosses val="autoZero"/>
        <c:auto val="0"/>
        <c:lblAlgn val="ctr"/>
        <c:lblOffset val="100"/>
        <c:tickLblSkip val="1"/>
        <c:tickMarkSkip val="1"/>
        <c:noMultiLvlLbl val="0"/>
      </c:catAx>
      <c:valAx>
        <c:axId val="-283576384"/>
        <c:scaling>
          <c:orientation val="minMax"/>
          <c:max val="200"/>
          <c:min val="0"/>
        </c:scaling>
        <c:delete val="0"/>
        <c:axPos val="l"/>
        <c:title>
          <c:tx>
            <c:rich>
              <a:bodyPr/>
              <a:lstStyle/>
              <a:p>
                <a:pPr>
                  <a:defRPr>
                    <a:solidFill>
                      <a:sysClr val="windowText" lastClr="000000"/>
                    </a:solidFill>
                  </a:defRPr>
                </a:pPr>
                <a:r>
                  <a:rPr lang="en-US" sz="1100" b="1" dirty="0">
                    <a:solidFill>
                      <a:sysClr val="windowText" lastClr="000000"/>
                    </a:solidFill>
                  </a:rPr>
                  <a:t>Industry</a:t>
                </a:r>
                <a:r>
                  <a:rPr lang="en-US" sz="1100" b="1" baseline="0" dirty="0">
                    <a:solidFill>
                      <a:sysClr val="windowText" lastClr="000000"/>
                    </a:solidFill>
                  </a:rPr>
                  <a:t> Cinema Admissions</a:t>
                </a:r>
                <a:endParaRPr lang="en-GB" sz="1100" b="1" dirty="0">
                  <a:solidFill>
                    <a:sysClr val="windowText" lastClr="000000"/>
                  </a:solidFill>
                </a:endParaRPr>
              </a:p>
            </c:rich>
          </c:tx>
          <c:layout>
            <c:manualLayout>
              <c:xMode val="edge"/>
              <c:yMode val="edge"/>
              <c:x val="1.8539929326635462E-2"/>
              <c:y val="0.30364427352763074"/>
            </c:manualLayout>
          </c:layout>
          <c:overlay val="0"/>
        </c:title>
        <c:numFmt formatCode="General" sourceLinked="1"/>
        <c:majorTickMark val="out"/>
        <c:minorTickMark val="none"/>
        <c:tickLblPos val="nextTo"/>
        <c:spPr>
          <a:ln w="9525">
            <a:solidFill>
              <a:schemeClr val="accent6"/>
            </a:solidFill>
            <a:prstDash val="solid"/>
          </a:ln>
        </c:spPr>
        <c:txPr>
          <a:bodyPr rot="0" vert="horz"/>
          <a:lstStyle/>
          <a:p>
            <a:pPr>
              <a:defRPr sz="1400" b="1" i="0" u="none" strike="noStrike" baseline="0">
                <a:solidFill>
                  <a:schemeClr val="accent6"/>
                </a:solidFill>
                <a:latin typeface="Arial" charset="0"/>
                <a:ea typeface="Arial" charset="0"/>
                <a:cs typeface="Arial" charset="0"/>
              </a:defRPr>
            </a:pPr>
            <a:endParaRPr lang="en-US"/>
          </a:p>
        </c:txPr>
        <c:crossAx val="-283599120"/>
        <c:crosses val="autoZero"/>
        <c:crossBetween val="between"/>
      </c:valAx>
      <c:spPr>
        <a:noFill/>
        <a:ln w="29738">
          <a:noFill/>
        </a:ln>
      </c:spPr>
    </c:plotArea>
    <c:plotVisOnly val="1"/>
    <c:dispBlanksAs val="gap"/>
    <c:showDLblsOverMax val="0"/>
  </c:chart>
  <c:spPr>
    <a:noFill/>
    <a:ln>
      <a:noFill/>
    </a:ln>
  </c:spPr>
  <c:txPr>
    <a:bodyPr/>
    <a:lstStyle/>
    <a:p>
      <a:pPr>
        <a:defRPr sz="937" b="1" i="0" u="none" strike="noStrike" baseline="0">
          <a:solidFill>
            <a:schemeClr val="tx1"/>
          </a:solidFill>
          <a:latin typeface="Calibri"/>
          <a:ea typeface="Calibri"/>
          <a:cs typeface="Calibri"/>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sng" strike="noStrike" kern="1200" spc="0" baseline="0">
                <a:solidFill>
                  <a:schemeClr val="accent6"/>
                </a:solidFill>
                <a:latin typeface="+mn-lt"/>
                <a:ea typeface="+mn-ea"/>
                <a:cs typeface="+mn-cs"/>
              </a:defRPr>
            </a:pPr>
            <a:r>
              <a:rPr lang="en-GB" sz="1400" u="sng" dirty="0">
                <a:solidFill>
                  <a:schemeClr val="accent6"/>
                </a:solidFill>
              </a:rPr>
              <a:t>2007 to</a:t>
            </a:r>
            <a:r>
              <a:rPr lang="en-GB" sz="1400" u="sng" baseline="0" dirty="0">
                <a:solidFill>
                  <a:schemeClr val="accent6"/>
                </a:solidFill>
              </a:rPr>
              <a:t> 2009 Revenue change</a:t>
            </a:r>
            <a:endParaRPr lang="en-GB" sz="1400" u="sng" dirty="0">
              <a:solidFill>
                <a:schemeClr val="accent6"/>
              </a:solidFill>
            </a:endParaRPr>
          </a:p>
        </c:rich>
      </c:tx>
      <c:overlay val="0"/>
      <c:spPr>
        <a:noFill/>
        <a:ln>
          <a:noFill/>
        </a:ln>
        <a:effectLst/>
      </c:spPr>
      <c:txPr>
        <a:bodyPr rot="0" spcFirstLastPara="1" vertOverflow="ellipsis" vert="horz" wrap="square" anchor="ctr" anchorCtr="1"/>
        <a:lstStyle/>
        <a:p>
          <a:pPr>
            <a:defRPr sz="1400" b="0" i="0" u="sng" strike="noStrike" kern="1200" spc="0" baseline="0">
              <a:solidFill>
                <a:schemeClr val="accent6"/>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5"/>
            </a:solidFill>
            <a:ln>
              <a:noFill/>
            </a:ln>
            <a:effectLst/>
          </c:spPr>
          <c:invertIfNegative val="0"/>
          <c:dPt>
            <c:idx val="6"/>
            <c:invertIfNegative val="0"/>
            <c:bubble3D val="0"/>
            <c:spPr>
              <a:solidFill>
                <a:schemeClr val="bg2"/>
              </a:solidFill>
              <a:ln>
                <a:noFill/>
              </a:ln>
              <a:effectLst/>
            </c:spPr>
            <c:extLst>
              <c:ext xmlns:c16="http://schemas.microsoft.com/office/drawing/2014/chart" uri="{C3380CC4-5D6E-409C-BE32-E72D297353CC}">
                <c16:uniqueId val="{00000009-305A-4081-B6C8-E954C84F905D}"/>
              </c:ext>
            </c:extLst>
          </c:dPt>
          <c:dPt>
            <c:idx val="7"/>
            <c:invertIfNegative val="0"/>
            <c:bubble3D val="0"/>
            <c:spPr>
              <a:solidFill>
                <a:schemeClr val="tx1"/>
              </a:solidFill>
              <a:ln>
                <a:noFill/>
              </a:ln>
              <a:effectLst/>
            </c:spPr>
            <c:extLst>
              <c:ext xmlns:c16="http://schemas.microsoft.com/office/drawing/2014/chart" uri="{C3380CC4-5D6E-409C-BE32-E72D297353CC}">
                <c16:uniqueId val="{0000000A-305A-4081-B6C8-E954C84F905D}"/>
              </c:ext>
            </c:extLst>
          </c:dPt>
          <c:dLbls>
            <c:dLbl>
              <c:idx val="6"/>
              <c:tx>
                <c:rich>
                  <a:bodyPr/>
                  <a:lstStyle/>
                  <a:p>
                    <a:r>
                      <a:rPr lang="en-US"/>
                      <a:t>+6%</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305A-4081-B6C8-E954C84F905D}"/>
                </c:ext>
              </c:extLst>
            </c:dLbl>
            <c:dLbl>
              <c:idx val="7"/>
              <c:tx>
                <c:rich>
                  <a:bodyPr/>
                  <a:lstStyle/>
                  <a:p>
                    <a:r>
                      <a:rPr lang="en-US"/>
                      <a:t>+29%</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305A-4081-B6C8-E954C84F905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A$8</c:f>
              <c:strCache>
                <c:ptCount val="8"/>
                <c:pt idx="0">
                  <c:v>Total ad spend</c:v>
                </c:pt>
                <c:pt idx="1">
                  <c:v>Magazine brands</c:v>
                </c:pt>
                <c:pt idx="2">
                  <c:v>Newsbrands</c:v>
                </c:pt>
                <c:pt idx="3">
                  <c:v>TV</c:v>
                </c:pt>
                <c:pt idx="4">
                  <c:v>Radio</c:v>
                </c:pt>
                <c:pt idx="5">
                  <c:v>OOH</c:v>
                </c:pt>
                <c:pt idx="6">
                  <c:v>Cinema</c:v>
                </c:pt>
                <c:pt idx="7">
                  <c:v>Internet display</c:v>
                </c:pt>
              </c:strCache>
            </c:strRef>
          </c:cat>
          <c:val>
            <c:numRef>
              <c:f>Sheet1!$B$1:$B$8</c:f>
              <c:numCache>
                <c:formatCode>0%</c:formatCode>
                <c:ptCount val="8"/>
                <c:pt idx="0">
                  <c:v>-0.13807723943441311</c:v>
                </c:pt>
                <c:pt idx="1">
                  <c:v>-0.35085025308536649</c:v>
                </c:pt>
                <c:pt idx="2">
                  <c:v>-0.30681138364242366</c:v>
                </c:pt>
                <c:pt idx="3">
                  <c:v>-0.11534429354300689</c:v>
                </c:pt>
                <c:pt idx="4">
                  <c:v>-0.15496489468405222</c:v>
                </c:pt>
                <c:pt idx="5">
                  <c:v>-0.19850379176060662</c:v>
                </c:pt>
                <c:pt idx="6">
                  <c:v>5.774896876841492E-2</c:v>
                </c:pt>
                <c:pt idx="7">
                  <c:v>0.29212559592306436</c:v>
                </c:pt>
              </c:numCache>
            </c:numRef>
          </c:val>
          <c:extLst>
            <c:ext xmlns:c16="http://schemas.microsoft.com/office/drawing/2014/chart" uri="{C3380CC4-5D6E-409C-BE32-E72D297353CC}">
              <c16:uniqueId val="{00000000-305A-4081-B6C8-E954C84F905D}"/>
            </c:ext>
          </c:extLst>
        </c:ser>
        <c:dLbls>
          <c:showLegendKey val="0"/>
          <c:showVal val="0"/>
          <c:showCatName val="0"/>
          <c:showSerName val="0"/>
          <c:showPercent val="0"/>
          <c:showBubbleSize val="0"/>
        </c:dLbls>
        <c:gapWidth val="150"/>
        <c:axId val="261504959"/>
        <c:axId val="261502047"/>
      </c:barChart>
      <c:catAx>
        <c:axId val="261504959"/>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1" i="0" u="none" strike="noStrike" kern="1200" baseline="0">
                <a:solidFill>
                  <a:schemeClr val="bg1"/>
                </a:solidFill>
                <a:latin typeface="+mn-lt"/>
                <a:ea typeface="+mn-ea"/>
                <a:cs typeface="+mn-cs"/>
              </a:defRPr>
            </a:pPr>
            <a:endParaRPr lang="en-US"/>
          </a:p>
        </c:txPr>
        <c:crossAx val="261502047"/>
        <c:crosses val="autoZero"/>
        <c:auto val="1"/>
        <c:lblAlgn val="ctr"/>
        <c:lblOffset val="100"/>
        <c:noMultiLvlLbl val="0"/>
      </c:catAx>
      <c:valAx>
        <c:axId val="261502047"/>
        <c:scaling>
          <c:orientation val="minMax"/>
        </c:scaling>
        <c:delete val="0"/>
        <c:axPos val="l"/>
        <c:numFmt formatCode="0%" sourceLinked="1"/>
        <c:majorTickMark val="none"/>
        <c:minorTickMark val="none"/>
        <c:tickLblPos val="nextTo"/>
        <c:spPr>
          <a:noFill/>
          <a:ln>
            <a:solidFill>
              <a:schemeClr val="accent5"/>
            </a:solid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2615049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29/2024</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76CB54-3A79-4EAF-84B2-E6E2062C96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03796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7.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9.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0.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1.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84.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85.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4.xml"/><Relationship Id="rId1" Type="http://schemas.openxmlformats.org/officeDocument/2006/relationships/vmlDrawing" Target="../drawings/vmlDrawing93.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5.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6.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7.xml"/><Relationship Id="rId1" Type="http://schemas.openxmlformats.org/officeDocument/2006/relationships/vmlDrawing" Target="../drawings/vmlDrawing96.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9.xml"/><Relationship Id="rId1" Type="http://schemas.openxmlformats.org/officeDocument/2006/relationships/vmlDrawing" Target="../drawings/vmlDrawing6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0.xml"/><Relationship Id="rId1" Type="http://schemas.openxmlformats.org/officeDocument/2006/relationships/vmlDrawing" Target="../drawings/vmlDrawing6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1.xml"/><Relationship Id="rId1" Type="http://schemas.openxmlformats.org/officeDocument/2006/relationships/vmlDrawing" Target="../drawings/vmlDrawing7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2.xml"/><Relationship Id="rId1" Type="http://schemas.openxmlformats.org/officeDocument/2006/relationships/vmlDrawing" Target="../drawings/vmlDrawing7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4.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5.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7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27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705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248893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807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807484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909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3238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012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619451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114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1132296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023635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25076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4107074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715788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690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68032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217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441690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319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171183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8354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521213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943165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524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39670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626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81733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98121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51682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059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58449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7289"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90004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31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98806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33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75792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361"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36776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385"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3820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240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73882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343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69130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445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03077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548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69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50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37752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161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92957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752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34371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855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07311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539636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767269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98856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33546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49341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07272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264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0"/>
            <a:ext cx="8426275"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4"/>
            <a:ext cx="8426275" cy="4210169"/>
          </a:xfrm>
        </p:spPr>
        <p:txBody>
          <a:bodyPr/>
          <a:lstStyle>
            <a:lvl1pPr>
              <a:lnSpc>
                <a:spcPts val="2000"/>
              </a:lnSpc>
              <a:defRPr sz="1799">
                <a:solidFill>
                  <a:schemeClr val="tx2"/>
                </a:solidFill>
              </a:defRPr>
            </a:lvl1pPr>
            <a:lvl2pPr>
              <a:lnSpc>
                <a:spcPts val="1600"/>
              </a:lnSpc>
              <a:defRPr sz="1400"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91394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37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39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41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44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08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46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51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53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56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58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1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0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3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970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175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79718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80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51086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2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58174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24029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38569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850"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79557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87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9330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89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33769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5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922"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86478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946"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25455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97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07125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99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94357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301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1681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404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97414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06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51279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09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90802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1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40517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1501255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17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184745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79310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03607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48476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43519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042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2"/>
            <a:ext cx="8259575" cy="214058"/>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4"/>
            <a:ext cx="8426275" cy="4210169"/>
          </a:xfrm>
        </p:spPr>
        <p:txBody>
          <a:bodyPr/>
          <a:lstStyle>
            <a:lvl1pPr>
              <a:lnSpc>
                <a:spcPts val="2000"/>
              </a:lnSpc>
              <a:defRPr sz="1799">
                <a:solidFill>
                  <a:schemeClr val="tx2"/>
                </a:solidFill>
              </a:defRPr>
            </a:lvl1pPr>
            <a:lvl2pPr>
              <a:lnSpc>
                <a:spcPts val="2000"/>
              </a:lnSpc>
              <a:defRPr sz="1799"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249822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145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0"/>
            <a:ext cx="8426275"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4"/>
            <a:ext cx="8426275" cy="4210169"/>
          </a:xfrm>
        </p:spPr>
        <p:txBody>
          <a:bodyPr/>
          <a:lstStyle>
            <a:lvl1pPr>
              <a:lnSpc>
                <a:spcPts val="2000"/>
              </a:lnSpc>
              <a:defRPr sz="1799">
                <a:solidFill>
                  <a:schemeClr val="tx2"/>
                </a:solidFill>
              </a:defRPr>
            </a:lvl1pPr>
            <a:lvl2pPr>
              <a:lnSpc>
                <a:spcPts val="1600"/>
              </a:lnSpc>
              <a:defRPr sz="1400"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89460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1"/>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2" y="1371821"/>
            <a:ext cx="6664200" cy="207296"/>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2" y="1658710"/>
            <a:ext cx="6664200"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2" y="1987014"/>
            <a:ext cx="6664200" cy="4210169"/>
          </a:xfrm>
        </p:spPr>
        <p:txBody>
          <a:bodyPr/>
          <a:lstStyle>
            <a:lvl1pPr>
              <a:lnSpc>
                <a:spcPts val="2000"/>
              </a:lnSpc>
              <a:defRPr sz="1799">
                <a:solidFill>
                  <a:schemeClr val="tx2"/>
                </a:solidFill>
              </a:defRPr>
            </a:lvl1pPr>
            <a:lvl2pPr>
              <a:lnSpc>
                <a:spcPts val="1600"/>
              </a:lnSpc>
              <a:defRPr sz="1400"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199"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33364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1"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1" y="1422401"/>
            <a:ext cx="5397500" cy="4444999"/>
          </a:xfrm>
        </p:spPr>
        <p:txBody>
          <a:bodyPr/>
          <a:lstStyle>
            <a:lvl1pPr algn="ctr">
              <a:defRPr sz="2499">
                <a:solidFill>
                  <a:schemeClr val="bg1"/>
                </a:solidFill>
                <a:latin typeface="Impact" charset="0"/>
                <a:ea typeface="Impact" charset="0"/>
                <a:cs typeface="Impact" charset="0"/>
              </a:defRPr>
            </a:lvl1pPr>
            <a:lvl2pPr algn="ctr">
              <a:defRPr sz="2499">
                <a:solidFill>
                  <a:schemeClr val="bg1"/>
                </a:solidFill>
                <a:latin typeface="Impact" charset="0"/>
                <a:ea typeface="Impact" charset="0"/>
                <a:cs typeface="Impact" charset="0"/>
              </a:defRPr>
            </a:lvl2pPr>
            <a:lvl3pPr algn="ctr">
              <a:defRPr sz="2499">
                <a:solidFill>
                  <a:schemeClr val="bg1"/>
                </a:solidFill>
                <a:latin typeface="Impact" charset="0"/>
                <a:ea typeface="Impact" charset="0"/>
                <a:cs typeface="Impact" charset="0"/>
              </a:defRPr>
            </a:lvl3pPr>
            <a:lvl4pPr algn="ctr">
              <a:defRPr sz="2499">
                <a:solidFill>
                  <a:schemeClr val="bg1"/>
                </a:solidFill>
                <a:latin typeface="Impact" charset="0"/>
                <a:ea typeface="Impact" charset="0"/>
                <a:cs typeface="Impact" charset="0"/>
              </a:defRPr>
            </a:lvl4pPr>
            <a:lvl5pPr algn="ctr">
              <a:defRPr sz="2499">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3032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2474"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9963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7"/>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2" y="2195325"/>
            <a:ext cx="5235066" cy="421827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6" y="2195325"/>
            <a:ext cx="5232045" cy="421827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07018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20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349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50"/>
            <a:ext cx="8429894" cy="3784532"/>
          </a:xfrm>
        </p:spPr>
        <p:txBody>
          <a:bodyPr/>
          <a:lstStyle>
            <a:lvl1pPr>
              <a:lnSpc>
                <a:spcPts val="2000"/>
              </a:lnSpc>
              <a:defRPr sz="1799">
                <a:solidFill>
                  <a:schemeClr val="tx2"/>
                </a:solidFill>
              </a:defRPr>
            </a:lvl1pPr>
            <a:lvl2pPr>
              <a:lnSpc>
                <a:spcPts val="1600"/>
              </a:lnSpc>
              <a:defRPr sz="1400"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81953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452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799">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75087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5546"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1" y="2461175"/>
            <a:ext cx="5962849" cy="3788813"/>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5"/>
            <a:ext cx="5961600" cy="3781359"/>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44589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6570"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1" y="1491463"/>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3"/>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3"/>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5" y="2459740"/>
            <a:ext cx="4124127"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24026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759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7" y="2376189"/>
            <a:ext cx="4680000" cy="1800000"/>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7" y="4442806"/>
            <a:ext cx="4680000" cy="1800000"/>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4909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861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5"/>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7"/>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85394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964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1"/>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7" y="2376189"/>
            <a:ext cx="4680000" cy="1800000"/>
          </a:xfrm>
          <a:prstGeom prst="rect">
            <a:avLst/>
          </a:prstGeo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7" y="4442806"/>
            <a:ext cx="4680000" cy="1800000"/>
          </a:xfrm>
          <a:prstGeom prst="rect">
            <a:avLst/>
          </a:prstGeo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14967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066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5"/>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7"/>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24300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169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4"/>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41429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271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3"/>
            <a:ext cx="3081873"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3"/>
            <a:ext cx="3088538"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1" y="3553113"/>
            <a:ext cx="3097102"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3"/>
            <a:ext cx="3088948"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1"/>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2"/>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00758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2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373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1"/>
            <a:ext cx="4115448" cy="4313237"/>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20917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1" y="270001"/>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1" y="2461175"/>
            <a:ext cx="5962849" cy="3788813"/>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2" y="1502942"/>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5"/>
            <a:ext cx="5961600" cy="3781359"/>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2"/>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3"/>
            <a:ext cx="5962650" cy="425449"/>
          </a:xfrm>
        </p:spPr>
        <p:txBody>
          <a:bodyPr/>
          <a:lstStyle>
            <a:lvl1pPr>
              <a:defRPr sz="2799"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2994837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1" y="270001"/>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3"/>
            <a:ext cx="5962650" cy="425449"/>
          </a:xfrm>
        </p:spPr>
        <p:txBody>
          <a:bodyPr/>
          <a:lstStyle>
            <a:lvl1pPr>
              <a:defRPr sz="2799"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1"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1" y="3779321"/>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1" y="6477661"/>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1" y="6690251"/>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9"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9"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9"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9" y="3424641"/>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9"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9"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1"/>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611446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5" y="2026819"/>
            <a:ext cx="3504109" cy="3504108"/>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9" y="2026819"/>
            <a:ext cx="3504109" cy="3504108"/>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9"/>
            <a:ext cx="3504109" cy="3504108"/>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8797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3" y="2027238"/>
            <a:ext cx="3780001"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8"/>
            <a:ext cx="3780001"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8"/>
            <a:ext cx="3780001"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52448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19997">
                <a:solidFill>
                  <a:schemeClr val="bg1"/>
                </a:solidFill>
                <a:latin typeface="Impact" charset="0"/>
                <a:ea typeface="Impact" charset="0"/>
                <a:cs typeface="Impact" charset="0"/>
              </a:defRPr>
            </a:lvl1pPr>
            <a:lvl2pPr algn="ctr">
              <a:defRPr sz="9999">
                <a:solidFill>
                  <a:schemeClr val="bg1"/>
                </a:solidFill>
                <a:latin typeface="Impact" charset="0"/>
                <a:ea typeface="Impact" charset="0"/>
                <a:cs typeface="Impact" charset="0"/>
              </a:defRPr>
            </a:lvl2pPr>
            <a:lvl3pPr algn="ctr">
              <a:defRPr sz="9999">
                <a:solidFill>
                  <a:schemeClr val="bg1"/>
                </a:solidFill>
                <a:latin typeface="Impact" charset="0"/>
                <a:ea typeface="Impact" charset="0"/>
                <a:cs typeface="Impact" charset="0"/>
              </a:defRPr>
            </a:lvl3pPr>
            <a:lvl4pPr algn="ctr">
              <a:defRPr sz="9999">
                <a:solidFill>
                  <a:schemeClr val="bg1"/>
                </a:solidFill>
                <a:latin typeface="Impact" charset="0"/>
                <a:ea typeface="Impact" charset="0"/>
                <a:cs typeface="Impact" charset="0"/>
              </a:defRPr>
            </a:lvl4pPr>
            <a:lvl5pPr algn="ctr">
              <a:defRPr sz="9999">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03311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30"/>
            <a:ext cx="11314112" cy="2331774"/>
          </a:xfrm>
        </p:spPr>
        <p:txBody>
          <a:bodyPr anchor="ctr"/>
          <a:lstStyle>
            <a:lvl1pPr algn="ctr">
              <a:defRPr sz="19997">
                <a:solidFill>
                  <a:schemeClr val="bg1"/>
                </a:solidFill>
                <a:latin typeface="Impact" charset="0"/>
                <a:ea typeface="Impact" charset="0"/>
                <a:cs typeface="Impact" charset="0"/>
              </a:defRPr>
            </a:lvl1pPr>
            <a:lvl2pPr algn="ctr">
              <a:defRPr sz="9999">
                <a:solidFill>
                  <a:schemeClr val="bg1"/>
                </a:solidFill>
                <a:latin typeface="Impact" charset="0"/>
                <a:ea typeface="Impact" charset="0"/>
                <a:cs typeface="Impact" charset="0"/>
              </a:defRPr>
            </a:lvl2pPr>
            <a:lvl3pPr algn="ctr">
              <a:defRPr sz="9999">
                <a:solidFill>
                  <a:schemeClr val="bg1"/>
                </a:solidFill>
                <a:latin typeface="Impact" charset="0"/>
                <a:ea typeface="Impact" charset="0"/>
                <a:cs typeface="Impact" charset="0"/>
              </a:defRPr>
            </a:lvl3pPr>
            <a:lvl4pPr algn="ctr">
              <a:defRPr sz="9999">
                <a:solidFill>
                  <a:schemeClr val="bg1"/>
                </a:solidFill>
                <a:latin typeface="Impact" charset="0"/>
                <a:ea typeface="Impact" charset="0"/>
                <a:cs typeface="Impact" charset="0"/>
              </a:defRPr>
            </a:lvl4pPr>
            <a:lvl5pPr algn="ctr">
              <a:defRPr sz="9999">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9999">
                <a:solidFill>
                  <a:schemeClr val="bg1"/>
                </a:solidFill>
                <a:latin typeface="Impact" charset="0"/>
                <a:ea typeface="Impact" charset="0"/>
                <a:cs typeface="Impact" charset="0"/>
              </a:defRPr>
            </a:lvl1pPr>
            <a:lvl2pPr algn="ctr">
              <a:defRPr sz="9999">
                <a:solidFill>
                  <a:schemeClr val="bg1"/>
                </a:solidFill>
                <a:latin typeface="Impact" charset="0"/>
                <a:ea typeface="Impact" charset="0"/>
                <a:cs typeface="Impact" charset="0"/>
              </a:defRPr>
            </a:lvl2pPr>
            <a:lvl3pPr algn="ctr">
              <a:defRPr sz="9999">
                <a:solidFill>
                  <a:schemeClr val="bg1"/>
                </a:solidFill>
                <a:latin typeface="Impact" charset="0"/>
                <a:ea typeface="Impact" charset="0"/>
                <a:cs typeface="Impact" charset="0"/>
              </a:defRPr>
            </a:lvl3pPr>
            <a:lvl4pPr algn="ctr">
              <a:defRPr sz="9999">
                <a:solidFill>
                  <a:schemeClr val="bg1"/>
                </a:solidFill>
                <a:latin typeface="Impact" charset="0"/>
                <a:ea typeface="Impact" charset="0"/>
                <a:cs typeface="Impact" charset="0"/>
              </a:defRPr>
            </a:lvl4pPr>
            <a:lvl5pPr algn="ctr">
              <a:defRPr sz="9999">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62277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30"/>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854" indent="0" algn="ctr">
              <a:buNone/>
              <a:defRPr sz="2099"/>
            </a:lvl2pPr>
            <a:lvl3pPr marL="961706" indent="0" algn="ctr">
              <a:buNone/>
              <a:defRPr sz="1900"/>
            </a:lvl3pPr>
            <a:lvl4pPr marL="1442563" indent="0" algn="ctr">
              <a:buNone/>
              <a:defRPr sz="1700"/>
            </a:lvl4pPr>
            <a:lvl5pPr marL="1923416" indent="0" algn="ctr">
              <a:buNone/>
              <a:defRPr sz="1700"/>
            </a:lvl5pPr>
            <a:lvl6pPr marL="2404270" indent="0" algn="ctr">
              <a:buNone/>
              <a:defRPr sz="1700"/>
            </a:lvl6pPr>
            <a:lvl7pPr marL="2885123" indent="0" algn="ctr">
              <a:buNone/>
              <a:defRPr sz="1700"/>
            </a:lvl7pPr>
            <a:lvl8pPr marL="3365978" indent="0" algn="ctr">
              <a:buNone/>
              <a:defRPr sz="1700"/>
            </a:lvl8pPr>
            <a:lvl9pPr marL="3846829"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9"/>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3592960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476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2"/>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sp>
        <p:nvSpPr>
          <p:cNvPr id="9"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Tree>
    <p:extLst>
      <p:ext uri="{BB962C8B-B14F-4D97-AF65-F5344CB8AC3E}">
        <p14:creationId xmlns:p14="http://schemas.microsoft.com/office/powerpoint/2010/main" val="2361744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578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2"/>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8"/>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3"/>
            <a:ext cx="8259575" cy="214058"/>
          </a:xfrm>
        </p:spPr>
        <p:txBody>
          <a:bodyPr anchor="t" anchorCtr="0"/>
          <a:lstStyle>
            <a:lvl1pPr>
              <a:lnSpc>
                <a:spcPts val="1498"/>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498"/>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5"/>
            <a:ext cx="8426275" cy="4210169"/>
          </a:xfrm>
        </p:spPr>
        <p:txBody>
          <a:bodyPr/>
          <a:lstStyle>
            <a:lvl1pPr>
              <a:lnSpc>
                <a:spcPts val="2000"/>
              </a:lnSpc>
              <a:defRPr sz="1799">
                <a:solidFill>
                  <a:schemeClr val="tx2"/>
                </a:solidFill>
              </a:defRPr>
            </a:lvl1pPr>
            <a:lvl2pPr>
              <a:lnSpc>
                <a:spcPts val="2000"/>
              </a:lnSpc>
              <a:defRPr sz="1799" b="0">
                <a:solidFill>
                  <a:schemeClr val="bg1"/>
                </a:solidFill>
              </a:defRPr>
            </a:lvl2pPr>
            <a:lvl3pPr>
              <a:lnSpc>
                <a:spcPts val="1498"/>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2196459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5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7681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1"/>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71038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sp>
        <p:nvSpPr>
          <p:cNvPr id="3" name="Rectangle 2"/>
          <p:cNvSpPr/>
          <p:nvPr userDrawn="1"/>
        </p:nvSpPr>
        <p:spPr bwMode="gray">
          <a:xfrm>
            <a:off x="1" y="4"/>
            <a:ext cx="13442950" cy="6945156"/>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91" y="1578328"/>
            <a:ext cx="9079773" cy="4133199"/>
          </a:xfrm>
          <a:ln w="6350" cmpd="sng">
            <a:noFill/>
            <a:prstDash val="lgDash"/>
          </a:ln>
        </p:spPr>
        <p:txBody>
          <a:bodyPr anchor="ctr" anchorCtr="1"/>
          <a:lstStyle>
            <a:lvl1pPr algn="ctr">
              <a:lnSpc>
                <a:spcPts val="7597"/>
              </a:lnSpc>
              <a:buNone/>
              <a:defRPr sz="7597" b="0" cap="all" baseline="0">
                <a:solidFill>
                  <a:srgbClr val="FFFFFF"/>
                </a:solidFill>
                <a:latin typeface="+mj-lt"/>
              </a:defRPr>
            </a:lvl1pPr>
          </a:lstStyle>
          <a:p>
            <a:pPr lvl="0"/>
            <a:r>
              <a:rPr lang="en-GB" dirty="0"/>
              <a:t>QUOTE OR STATEMENT QUOTE OR STATEMENT QUOTE OR STATEMENT QUOTE OR STATEMENT </a:t>
            </a:r>
          </a:p>
        </p:txBody>
      </p:sp>
    </p:spTree>
    <p:extLst>
      <p:ext uri="{BB962C8B-B14F-4D97-AF65-F5344CB8AC3E}">
        <p14:creationId xmlns:p14="http://schemas.microsoft.com/office/powerpoint/2010/main" val="4102273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885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270000" y="1395414"/>
            <a:ext cx="12912600" cy="5682280"/>
          </a:xfrm>
          <a:prstGeom prst="rect">
            <a:avLst/>
          </a:prstGeom>
          <a:solidFill>
            <a:schemeClr val="accent5">
              <a:lumMod val="60000"/>
              <a:lumOff val="40000"/>
            </a:schemeClr>
          </a:solidFill>
        </p:spPr>
        <p:txBody>
          <a:bodyPr tIns="720000"/>
          <a:lstStyle>
            <a:lvl1pPr marL="0" indent="0"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4" name="Text Placeholder 3"/>
          <p:cNvSpPr>
            <a:spLocks noGrp="1"/>
          </p:cNvSpPr>
          <p:nvPr>
            <p:ph type="body" sz="quarter" idx="10" hasCustomPrompt="1"/>
          </p:nvPr>
        </p:nvSpPr>
        <p:spPr bwMode="gray">
          <a:xfrm>
            <a:off x="2525005" y="2683267"/>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22038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98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94262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090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154131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193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427576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295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34935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397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945883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500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26803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602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224215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vmlDrawing" Target="../drawings/vmlDrawing66.v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theme" Target="../theme/theme10.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image" Target="../media/image1.emf"/><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oleObject" Target="../embeddings/oleObject66.bin"/><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tags" Target="../tags/tag67.xml"/><Relationship Id="rId30" Type="http://schemas.openxmlformats.org/officeDocument/2006/relationships/image" Target="../media/image2.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oleObject" Target="../embeddings/oleObject81.bin"/><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tags" Target="../tags/tag83.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vmlDrawing" Target="../drawings/vmlDrawing82.v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theme" Target="../theme/theme11.xml"/><Relationship Id="rId28" Type="http://schemas.openxmlformats.org/officeDocument/2006/relationships/image" Target="../media/image2.png"/><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5.vml"/><Relationship Id="rId3" Type="http://schemas.openxmlformats.org/officeDocument/2006/relationships/slideLayout" Target="../slideLayouts/slideLayout17.xml"/><Relationship Id="rId7" Type="http://schemas.openxmlformats.org/officeDocument/2006/relationships/theme" Target="../theme/theme2.xml"/><Relationship Id="rId12" Type="http://schemas.openxmlformats.org/officeDocument/2006/relationships/image" Target="../media/image2.png"/><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image" Target="../media/image1.emf"/><Relationship Id="rId5" Type="http://schemas.openxmlformats.org/officeDocument/2006/relationships/slideLayout" Target="../slideLayouts/slideLayout19.xml"/><Relationship Id="rId10" Type="http://schemas.openxmlformats.org/officeDocument/2006/relationships/oleObject" Target="../embeddings/oleObject15.bin"/><Relationship Id="rId4" Type="http://schemas.openxmlformats.org/officeDocument/2006/relationships/slideLayout" Target="../slideLayouts/slideLayout18.xml"/><Relationship Id="rId9" Type="http://schemas.openxmlformats.org/officeDocument/2006/relationships/tags" Target="../tags/tag16.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slideLayout" Target="../slideLayouts/slideLayout23.xml"/><Relationship Id="rId7" Type="http://schemas.openxmlformats.org/officeDocument/2006/relationships/vmlDrawing" Target="../drawings/vmlDrawing21.v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heme" Target="../theme/theme3.xml"/><Relationship Id="rId11" Type="http://schemas.openxmlformats.org/officeDocument/2006/relationships/image" Target="../media/image2.png"/><Relationship Id="rId5" Type="http://schemas.openxmlformats.org/officeDocument/2006/relationships/slideLayout" Target="../slideLayouts/slideLayout25.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oleObject" Target="../embeddings/oleObject21.bin"/></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slideLayout" Target="../slideLayouts/slideLayout28.xml"/><Relationship Id="rId7" Type="http://schemas.openxmlformats.org/officeDocument/2006/relationships/tags" Target="../tags/tag28.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vmlDrawing" Target="../drawings/vmlDrawing27.vml"/><Relationship Id="rId5" Type="http://schemas.openxmlformats.org/officeDocument/2006/relationships/theme" Target="../theme/theme4.xml"/><Relationship Id="rId10" Type="http://schemas.openxmlformats.org/officeDocument/2006/relationships/image" Target="../media/image2.png"/><Relationship Id="rId4" Type="http://schemas.openxmlformats.org/officeDocument/2006/relationships/slideLayout" Target="../slideLayouts/slideLayout29.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vmlDrawing" Target="../drawings/vmlDrawing28.v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theme" Target="../theme/theme5.xml"/><Relationship Id="rId17" Type="http://schemas.openxmlformats.org/officeDocument/2006/relationships/image" Target="../media/image2.png"/><Relationship Id="rId2" Type="http://schemas.openxmlformats.org/officeDocument/2006/relationships/slideLayout" Target="../slideLayouts/slideLayout31.xml"/><Relationship Id="rId16" Type="http://schemas.openxmlformats.org/officeDocument/2006/relationships/image" Target="../media/image1.emf"/><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oleObject" Target="../embeddings/oleObject28.bin"/><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ags" Target="../tags/tag29.xml"/></Relationships>
</file>

<file path=ppt/slideMasters/_rels/slideMaster6.xml.rels><?xml version="1.0" encoding="UTF-8" standalone="yes"?>
<Relationships xmlns="http://schemas.openxmlformats.org/package/2006/relationships"><Relationship Id="rId3" Type="http://schemas.openxmlformats.org/officeDocument/2006/relationships/vmlDrawing" Target="../drawings/vmlDrawing29.vml"/><Relationship Id="rId7" Type="http://schemas.openxmlformats.org/officeDocument/2006/relationships/image" Target="../media/image2.png"/><Relationship Id="rId2" Type="http://schemas.openxmlformats.org/officeDocument/2006/relationships/theme" Target="../theme/theme6.xml"/><Relationship Id="rId1" Type="http://schemas.openxmlformats.org/officeDocument/2006/relationships/slideLayout" Target="../slideLayouts/slideLayout41.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tags" Target="../tags/tag30.xml"/></Relationships>
</file>

<file path=ppt/slideMasters/_rels/slideMaster7.xml.rels><?xml version="1.0" encoding="UTF-8" standalone="yes"?>
<Relationships xmlns="http://schemas.openxmlformats.org/package/2006/relationships"><Relationship Id="rId3" Type="http://schemas.openxmlformats.org/officeDocument/2006/relationships/vmlDrawing" Target="../drawings/vmlDrawing31.vml"/><Relationship Id="rId7" Type="http://schemas.openxmlformats.org/officeDocument/2006/relationships/image" Target="../media/image3.png"/><Relationship Id="rId2" Type="http://schemas.openxmlformats.org/officeDocument/2006/relationships/theme" Target="../theme/theme7.xml"/><Relationship Id="rId1" Type="http://schemas.openxmlformats.org/officeDocument/2006/relationships/slideLayout" Target="../slideLayouts/slideLayout42.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tags" Target="../tags/tag3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oleObject" Target="../embeddings/oleObject33.bin"/><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tags" Target="../tags/tag34.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vmlDrawing" Target="../drawings/vmlDrawing33.v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theme" Target="../theme/theme8.xml"/><Relationship Id="rId28" Type="http://schemas.openxmlformats.org/officeDocument/2006/relationships/image" Target="../media/image3.png"/><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33" Type="http://schemas.openxmlformats.org/officeDocument/2006/relationships/image" Target="../media/image3.png"/><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29" Type="http://schemas.openxmlformats.org/officeDocument/2006/relationships/vmlDrawing" Target="../drawings/vmlDrawing48.v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32" Type="http://schemas.openxmlformats.org/officeDocument/2006/relationships/image" Target="../media/image1.emf"/><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theme" Target="../theme/theme9.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31" Type="http://schemas.openxmlformats.org/officeDocument/2006/relationships/oleObject" Target="../embeddings/oleObject48.bin"/><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tags" Target="../tags/tag49.xml"/><Relationship Id="rId8"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34" name="think-cell Slide" r:id="rId18" imgW="6350000" imgH="6350000" progId="">
                  <p:embed/>
                </p:oleObj>
              </mc:Choice>
              <mc:Fallback>
                <p:oleObj name="think-cell Slide" r:id="rId18" imgW="6350000" imgH="6350000" progId="">
                  <p:embed/>
                  <p:pic>
                    <p:nvPicPr>
                      <p:cNvPr id="8" name="Object 7"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0"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 id="2147484201" r:id="rId12"/>
    <p:sldLayoutId id="2147484202" r:id="rId13"/>
    <p:sldLayoutId id="2147484204" r:id="rId1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7834" name="think-cell Slide" r:id="rId28" imgW="6350000" imgH="6350000" progId="">
                  <p:embed/>
                </p:oleObj>
              </mc:Choice>
              <mc:Fallback>
                <p:oleObj name="think-cell Slide" r:id="rId28" imgW="6350000" imgH="6350000" progId="">
                  <p:embed/>
                  <p:pic>
                    <p:nvPicPr>
                      <p:cNvPr id="8" name="Object 7"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99052676"/>
      </p:ext>
    </p:extLst>
  </p:cSld>
  <p:clrMap bg1="lt1" tx1="dk1" bg2="lt2" tx2="dk2" accent1="accent1" accent2="accent2" accent3="accent3" accent4="accent4" accent5="accent5" accent6="accent6" hlink="hlink" folHlink="folHlink"/>
  <p:sldLayoutIdLst>
    <p:sldLayoutId id="2147484154" r:id="rId1"/>
    <p:sldLayoutId id="2147484155" r:id="rId2"/>
    <p:sldLayoutId id="2147484156" r:id="rId3"/>
    <p:sldLayoutId id="2147484157" r:id="rId4"/>
    <p:sldLayoutId id="2147484158" r:id="rId5"/>
    <p:sldLayoutId id="2147484159" r:id="rId6"/>
    <p:sldLayoutId id="2147484160" r:id="rId7"/>
    <p:sldLayoutId id="2147484161" r:id="rId8"/>
    <p:sldLayoutId id="2147484162" r:id="rId9"/>
    <p:sldLayoutId id="2147484163" r:id="rId10"/>
    <p:sldLayoutId id="2147484164" r:id="rId11"/>
    <p:sldLayoutId id="2147484165" r:id="rId12"/>
    <p:sldLayoutId id="2147484166" r:id="rId13"/>
    <p:sldLayoutId id="2147484167" r:id="rId14"/>
    <p:sldLayoutId id="2147484168" r:id="rId15"/>
    <p:sldLayoutId id="2147484169" r:id="rId16"/>
    <p:sldLayoutId id="2147484170" r:id="rId17"/>
    <p:sldLayoutId id="2147484171" r:id="rId18"/>
    <p:sldLayoutId id="2147484172" r:id="rId19"/>
    <p:sldLayoutId id="2147484173" r:id="rId20"/>
    <p:sldLayoutId id="2147484174" r:id="rId21"/>
    <p:sldLayoutId id="2147484175" r:id="rId22"/>
    <p:sldLayoutId id="2147484176" r:id="rId23"/>
    <p:sldLayoutId id="2147484177" r:id="rId2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94217"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043395784"/>
      </p:ext>
    </p:extLst>
  </p:cSld>
  <p:clrMap bg1="lt1" tx1="dk1" bg2="lt2" tx2="dk2" accent1="accent1" accent2="accent2" accent3="accent3" accent4="accent4" accent5="accent5" accent6="accent6" hlink="hlink" folHlink="folHlink"/>
  <p:sldLayoutIdLst>
    <p:sldLayoutId id="2147484179" r:id="rId1"/>
    <p:sldLayoutId id="2147484180" r:id="rId2"/>
    <p:sldLayoutId id="2147484181" r:id="rId3"/>
    <p:sldLayoutId id="2147484182" r:id="rId4"/>
    <p:sldLayoutId id="2147484183" r:id="rId5"/>
    <p:sldLayoutId id="2147484184" r:id="rId6"/>
    <p:sldLayoutId id="2147484185" r:id="rId7"/>
    <p:sldLayoutId id="2147484186" r:id="rId8"/>
    <p:sldLayoutId id="2147484187" r:id="rId9"/>
    <p:sldLayoutId id="2147484188" r:id="rId10"/>
    <p:sldLayoutId id="2147484189" r:id="rId11"/>
    <p:sldLayoutId id="2147484190" r:id="rId12"/>
    <p:sldLayoutId id="2147484191" r:id="rId13"/>
    <p:sldLayoutId id="2147484192" r:id="rId14"/>
    <p:sldLayoutId id="2147484193" r:id="rId15"/>
    <p:sldLayoutId id="2147484194" r:id="rId16"/>
    <p:sldLayoutId id="2147484195" r:id="rId17"/>
    <p:sldLayoutId id="2147484196" r:id="rId18"/>
    <p:sldLayoutId id="2147484197" r:id="rId19"/>
    <p:sldLayoutId id="2147484198" r:id="rId20"/>
    <p:sldLayoutId id="2147484199" r:id="rId21"/>
    <p:sldLayoutId id="2147484200"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4346" name="think-cell Slide" r:id="rId10" imgW="6350000" imgH="6350000" progId="">
                  <p:embed/>
                </p:oleObj>
              </mc:Choice>
              <mc:Fallback>
                <p:oleObj name="think-cell Slide" r:id="rId10" imgW="6350000" imgH="6350000" progId="">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0490"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6634"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7658"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8682"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0730"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602125135"/>
      </p:ext>
    </p:extLst>
  </p:cSld>
  <p:clrMap bg1="lt1" tx1="dk1" bg2="lt2" tx2="dk2" accent1="accent1" accent2="accent2" accent3="accent3" accent4="accent4" accent5="accent5" accent6="accent6" hlink="hlink" folHlink="folHlink"/>
  <p:sldLayoutIdLst>
    <p:sldLayoutId id="2147484058"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2778"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15330541"/>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 id="2147484071" r:id="rId12"/>
    <p:sldLayoutId id="2147484072" r:id="rId13"/>
    <p:sldLayoutId id="2147484073" r:id="rId14"/>
    <p:sldLayoutId id="2147484074" r:id="rId15"/>
    <p:sldLayoutId id="2147484075" r:id="rId16"/>
    <p:sldLayoutId id="2147484076" r:id="rId17"/>
    <p:sldLayoutId id="2147484077" r:id="rId18"/>
    <p:sldLayoutId id="2147484078" r:id="rId19"/>
    <p:sldLayoutId id="2147484079" r:id="rId20"/>
    <p:sldLayoutId id="2147484080" r:id="rId21"/>
    <p:sldLayoutId id="2147484081"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0"/>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spid="_x0000_s59402" name="think-cell Slide" r:id="rId31" imgW="6350000" imgH="6350000" progId="">
                  <p:embed/>
                </p:oleObj>
              </mc:Choice>
              <mc:Fallback>
                <p:oleObj name="think-cell Slide" r:id="rId31" imgW="6350000" imgH="6350000" progId="">
                  <p:embed/>
                  <p:pic>
                    <p:nvPicPr>
                      <p:cNvPr id="8" name="Object 7"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1"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1"/>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2"/>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3" cstate="print">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Tree>
    <p:extLst>
      <p:ext uri="{BB962C8B-B14F-4D97-AF65-F5344CB8AC3E}">
        <p14:creationId xmlns:p14="http://schemas.microsoft.com/office/powerpoint/2010/main" val="2143454130"/>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 id="2147484132" r:id="rId12"/>
    <p:sldLayoutId id="2147484133" r:id="rId13"/>
    <p:sldLayoutId id="2147484134" r:id="rId14"/>
    <p:sldLayoutId id="2147484135" r:id="rId15"/>
    <p:sldLayoutId id="2147484136" r:id="rId16"/>
    <p:sldLayoutId id="2147484137" r:id="rId17"/>
    <p:sldLayoutId id="2147484138" r:id="rId18"/>
    <p:sldLayoutId id="2147484139" r:id="rId19"/>
    <p:sldLayoutId id="2147484140" r:id="rId20"/>
    <p:sldLayoutId id="2147484141" r:id="rId21"/>
    <p:sldLayoutId id="2147484142" r:id="rId22"/>
    <p:sldLayoutId id="2147484143" r:id="rId23"/>
    <p:sldLayoutId id="2147484144" r:id="rId24"/>
    <p:sldLayoutId id="2147484145" r:id="rId25"/>
    <p:sldLayoutId id="2147484147" r:id="rId26"/>
    <p:sldLayoutId id="2147484148" r:id="rId27"/>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706" rtl="0" eaLnBrk="1" latinLnBrk="0" hangingPunct="1">
        <a:spcBef>
          <a:spcPct val="0"/>
        </a:spcBef>
        <a:buNone/>
        <a:defRPr sz="2799" b="0" kern="1200" cap="all" spc="0">
          <a:ln w="22225">
            <a:noFill/>
            <a:prstDash val="solid"/>
          </a:ln>
          <a:solidFill>
            <a:srgbClr val="000000"/>
          </a:solidFill>
          <a:effectLst/>
          <a:latin typeface="+mj-lt"/>
          <a:ea typeface="+mj-ea"/>
          <a:cs typeface="+mj-cs"/>
        </a:defRPr>
      </a:lvl1pPr>
    </p:titleStyle>
    <p:bodyStyle>
      <a:lvl1pPr marL="0" indent="0" algn="l" defTabSz="961706" rtl="0" eaLnBrk="1" latinLnBrk="0" hangingPunct="1">
        <a:lnSpc>
          <a:spcPct val="1000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706" rtl="0" eaLnBrk="1" latinLnBrk="0" hangingPunct="1">
        <a:defRPr sz="1900" kern="1200">
          <a:solidFill>
            <a:schemeClr val="tx1"/>
          </a:solidFill>
          <a:latin typeface="+mn-lt"/>
          <a:ea typeface="+mn-ea"/>
          <a:cs typeface="+mn-cs"/>
        </a:defRPr>
      </a:lvl1pPr>
      <a:lvl2pPr marL="480854" algn="l" defTabSz="961706" rtl="0" eaLnBrk="1" latinLnBrk="0" hangingPunct="1">
        <a:defRPr sz="1900" kern="1200">
          <a:solidFill>
            <a:schemeClr val="tx1"/>
          </a:solidFill>
          <a:latin typeface="+mn-lt"/>
          <a:ea typeface="+mn-ea"/>
          <a:cs typeface="+mn-cs"/>
        </a:defRPr>
      </a:lvl2pPr>
      <a:lvl3pPr marL="961706" algn="l" defTabSz="961706" rtl="0" eaLnBrk="1" latinLnBrk="0" hangingPunct="1">
        <a:defRPr sz="1900" kern="1200">
          <a:solidFill>
            <a:schemeClr val="tx1"/>
          </a:solidFill>
          <a:latin typeface="+mn-lt"/>
          <a:ea typeface="+mn-ea"/>
          <a:cs typeface="+mn-cs"/>
        </a:defRPr>
      </a:lvl3pPr>
      <a:lvl4pPr marL="1442563" algn="l" defTabSz="961706" rtl="0" eaLnBrk="1" latinLnBrk="0" hangingPunct="1">
        <a:defRPr sz="1900" kern="1200">
          <a:solidFill>
            <a:schemeClr val="tx1"/>
          </a:solidFill>
          <a:latin typeface="+mn-lt"/>
          <a:ea typeface="+mn-ea"/>
          <a:cs typeface="+mn-cs"/>
        </a:defRPr>
      </a:lvl4pPr>
      <a:lvl5pPr marL="1923416" algn="l" defTabSz="961706" rtl="0" eaLnBrk="1" latinLnBrk="0" hangingPunct="1">
        <a:defRPr sz="1900" kern="1200">
          <a:solidFill>
            <a:schemeClr val="tx1"/>
          </a:solidFill>
          <a:latin typeface="+mn-lt"/>
          <a:ea typeface="+mn-ea"/>
          <a:cs typeface="+mn-cs"/>
        </a:defRPr>
      </a:lvl5pPr>
      <a:lvl6pPr marL="2404270" algn="l" defTabSz="961706" rtl="0" eaLnBrk="1" latinLnBrk="0" hangingPunct="1">
        <a:defRPr sz="1900" kern="1200">
          <a:solidFill>
            <a:schemeClr val="tx1"/>
          </a:solidFill>
          <a:latin typeface="+mn-lt"/>
          <a:ea typeface="+mn-ea"/>
          <a:cs typeface="+mn-cs"/>
        </a:defRPr>
      </a:lvl6pPr>
      <a:lvl7pPr marL="2885123" algn="l" defTabSz="961706" rtl="0" eaLnBrk="1" latinLnBrk="0" hangingPunct="1">
        <a:defRPr sz="1900" kern="1200">
          <a:solidFill>
            <a:schemeClr val="tx1"/>
          </a:solidFill>
          <a:latin typeface="+mn-lt"/>
          <a:ea typeface="+mn-ea"/>
          <a:cs typeface="+mn-cs"/>
        </a:defRPr>
      </a:lvl7pPr>
      <a:lvl8pPr marL="3365978" algn="l" defTabSz="961706" rtl="0" eaLnBrk="1" latinLnBrk="0" hangingPunct="1">
        <a:defRPr sz="1900" kern="1200">
          <a:solidFill>
            <a:schemeClr val="tx1"/>
          </a:solidFill>
          <a:latin typeface="+mn-lt"/>
          <a:ea typeface="+mn-ea"/>
          <a:cs typeface="+mn-cs"/>
        </a:defRPr>
      </a:lvl8pPr>
      <a:lvl9pPr marL="3846829" algn="l" defTabSz="961706"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Layout" Target="../slideLayouts/slideLayout103.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13.jpeg"/><Relationship Id="rId7" Type="http://schemas.openxmlformats.org/officeDocument/2006/relationships/image" Target="../media/image17.jpeg"/><Relationship Id="rId2" Type="http://schemas.openxmlformats.org/officeDocument/2006/relationships/image" Target="../media/image12.jpeg"/><Relationship Id="rId1" Type="http://schemas.openxmlformats.org/officeDocument/2006/relationships/slideLayout" Target="../slideLayouts/slideLayout107.xml"/><Relationship Id="rId6" Type="http://schemas.openxmlformats.org/officeDocument/2006/relationships/image" Target="../media/image16.jpeg"/><Relationship Id="rId11" Type="http://schemas.openxmlformats.org/officeDocument/2006/relationships/image" Target="../media/image21.jpeg"/><Relationship Id="rId5" Type="http://schemas.openxmlformats.org/officeDocument/2006/relationships/image" Target="../media/image15.jpeg"/><Relationship Id="rId10" Type="http://schemas.openxmlformats.org/officeDocument/2006/relationships/image" Target="../media/image20.jpeg"/><Relationship Id="rId4" Type="http://schemas.openxmlformats.org/officeDocument/2006/relationships/image" Target="../media/image14.jpeg"/><Relationship Id="rId9" Type="http://schemas.openxmlformats.org/officeDocument/2006/relationships/image" Target="../media/image1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244293" y="6102654"/>
            <a:ext cx="12305338" cy="455176"/>
          </a:xfrm>
        </p:spPr>
        <p:txBody>
          <a:bodyPr/>
          <a:lstStyle/>
          <a:p>
            <a:r>
              <a:rPr lang="en-US" dirty="0"/>
              <a:t>How is cinema positioned should we enter another recession?</a:t>
            </a:r>
          </a:p>
        </p:txBody>
      </p:sp>
      <p:sp>
        <p:nvSpPr>
          <p:cNvPr id="3" name="Title 2"/>
          <p:cNvSpPr>
            <a:spLocks noGrp="1"/>
          </p:cNvSpPr>
          <p:nvPr>
            <p:ph type="ctrTitle"/>
          </p:nvPr>
        </p:nvSpPr>
        <p:spPr>
          <a:xfrm>
            <a:off x="244293" y="5288803"/>
            <a:ext cx="12331696" cy="709383"/>
          </a:xfrm>
        </p:spPr>
        <p:txBody>
          <a:bodyPr/>
          <a:lstStyle/>
          <a:p>
            <a:r>
              <a:rPr lang="en-US" dirty="0"/>
              <a:t>CINEMA through a recession</a:t>
            </a:r>
          </a:p>
        </p:txBody>
      </p:sp>
      <p:pic>
        <p:nvPicPr>
          <p:cNvPr id="8" name="Picture Placeholder 7"/>
          <p:cNvPicPr>
            <a:picLocks noGrp="1" noChangeAspect="1"/>
          </p:cNvPicPr>
          <p:nvPr>
            <p:ph type="pic" sz="quarter" idx="10"/>
          </p:nvPr>
        </p:nvPicPr>
        <p:blipFill rotWithShape="1">
          <a:blip r:embed="rId2" cstate="print">
            <a:extLst>
              <a:ext uri="{28A0092B-C50C-407E-A947-70E740481C1C}">
                <a14:useLocalDpi xmlns:a14="http://schemas.microsoft.com/office/drawing/2010/main"/>
              </a:ext>
            </a:extLst>
          </a:blip>
          <a:srcRect/>
          <a:stretch/>
        </p:blipFill>
        <p:spPr/>
      </p:pic>
    </p:spTree>
    <p:extLst>
      <p:ext uri="{BB962C8B-B14F-4D97-AF65-F5344CB8AC3E}">
        <p14:creationId xmlns:p14="http://schemas.microsoft.com/office/powerpoint/2010/main" val="149209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51314A-3C88-43D1-ABBC-B774A7615200}"/>
              </a:ext>
            </a:extLst>
          </p:cNvPr>
          <p:cNvSpPr>
            <a:spLocks noGrp="1"/>
          </p:cNvSpPr>
          <p:nvPr>
            <p:ph type="title"/>
          </p:nvPr>
        </p:nvSpPr>
        <p:spPr/>
        <p:txBody>
          <a:bodyPr/>
          <a:lstStyle/>
          <a:p>
            <a:r>
              <a:rPr lang="en-GB" dirty="0"/>
              <a:t>In the UK CINEMAGOING REMAINS A VALUED AND POPULAR ACTIVITY</a:t>
            </a:r>
          </a:p>
        </p:txBody>
      </p:sp>
      <p:sp>
        <p:nvSpPr>
          <p:cNvPr id="6" name="Text Placeholder 5">
            <a:extLst>
              <a:ext uri="{FF2B5EF4-FFF2-40B4-BE49-F238E27FC236}">
                <a16:creationId xmlns:a16="http://schemas.microsoft.com/office/drawing/2014/main" id="{688E61DA-825B-4833-B1B4-D4771346853E}"/>
              </a:ext>
            </a:extLst>
          </p:cNvPr>
          <p:cNvSpPr>
            <a:spLocks noGrp="1"/>
          </p:cNvSpPr>
          <p:nvPr>
            <p:ph type="body" sz="quarter" idx="11"/>
          </p:nvPr>
        </p:nvSpPr>
        <p:spPr>
          <a:xfrm>
            <a:off x="10182225" y="7251119"/>
            <a:ext cx="3116263" cy="123111"/>
          </a:xfrm>
        </p:spPr>
        <p:txBody>
          <a:bodyPr/>
          <a:lstStyle/>
          <a:p>
            <a:r>
              <a:rPr lang="en-GB" dirty="0"/>
              <a:t>Source: GB TGI January 2024. Activities done in the last 12 months</a:t>
            </a:r>
          </a:p>
        </p:txBody>
      </p:sp>
      <p:graphicFrame>
        <p:nvGraphicFramePr>
          <p:cNvPr id="10" name="Object 1">
            <a:extLst>
              <a:ext uri="{FF2B5EF4-FFF2-40B4-BE49-F238E27FC236}">
                <a16:creationId xmlns:a16="http://schemas.microsoft.com/office/drawing/2014/main" id="{1B77FD2F-7135-42DF-8B37-2E7CCBD14BC7}"/>
              </a:ext>
            </a:extLst>
          </p:cNvPr>
          <p:cNvGraphicFramePr>
            <a:graphicFrameLocks noChangeAspect="1"/>
          </p:cNvGraphicFramePr>
          <p:nvPr/>
        </p:nvGraphicFramePr>
        <p:xfrm>
          <a:off x="72508" y="882362"/>
          <a:ext cx="13003412" cy="6026438"/>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 Placeholder 13">
            <a:extLst>
              <a:ext uri="{FF2B5EF4-FFF2-40B4-BE49-F238E27FC236}">
                <a16:creationId xmlns:a16="http://schemas.microsoft.com/office/drawing/2014/main" id="{72B8A7EB-6B16-4005-B996-2C83C07B9616}"/>
              </a:ext>
            </a:extLst>
          </p:cNvPr>
          <p:cNvSpPr txBox="1">
            <a:spLocks/>
          </p:cNvSpPr>
          <p:nvPr/>
        </p:nvSpPr>
        <p:spPr bwMode="gray">
          <a:xfrm>
            <a:off x="6771765" y="1205576"/>
            <a:ext cx="6671185" cy="218812"/>
          </a:xfrm>
          <a:prstGeom prst="rect">
            <a:avLst/>
          </a:prstGeom>
        </p:spPr>
        <p:txBody>
          <a:bodyPr vert="horz" lIns="0" tIns="0" rIns="0" bIns="0" rtlCol="0" anchor="t" anchorCtr="0">
            <a:noAutofit/>
          </a:bodyPr>
          <a:lstStyle>
            <a:lvl1pPr>
              <a:lnSpc>
                <a:spcPts val="1684"/>
              </a:lnSpc>
              <a:buNone/>
              <a:defRPr lang="en-GB" sz="1400" b="1" kern="1200" baseline="0" dirty="0">
                <a:solidFill>
                  <a:schemeClr val="bg1"/>
                </a:solidFill>
                <a:latin typeface="+mn-lt"/>
                <a:ea typeface="+mn-ea"/>
                <a:cs typeface="+mn-cs"/>
              </a:defRPr>
            </a:lvl1pPr>
          </a:lstStyle>
          <a:p>
            <a:pPr marL="0" marR="0" lvl="0" indent="0" algn="ctr" defTabSz="961844" rtl="0" eaLnBrk="1" fontAlgn="auto" latinLnBrk="0" hangingPunct="1">
              <a:lnSpc>
                <a:spcPts val="1684"/>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8A8A8D"/>
                </a:solidFill>
                <a:effectLst/>
                <a:uLnTx/>
                <a:uFillTx/>
                <a:latin typeface="Graphik"/>
                <a:ea typeface="+mn-ea"/>
                <a:cs typeface="+mn-cs"/>
              </a:rPr>
              <a:t>% of people who have done activity in the last 12 months</a:t>
            </a:r>
          </a:p>
        </p:txBody>
      </p:sp>
      <p:sp>
        <p:nvSpPr>
          <p:cNvPr id="2" name="Rectangle 1">
            <a:extLst>
              <a:ext uri="{FF2B5EF4-FFF2-40B4-BE49-F238E27FC236}">
                <a16:creationId xmlns:a16="http://schemas.microsoft.com/office/drawing/2014/main" id="{7EF710E6-C849-4F0B-BFAD-B9018AE2FFAB}"/>
              </a:ext>
            </a:extLst>
          </p:cNvPr>
          <p:cNvSpPr/>
          <p:nvPr/>
        </p:nvSpPr>
        <p:spPr>
          <a:xfrm>
            <a:off x="3498556" y="1314982"/>
            <a:ext cx="1062812" cy="5363919"/>
          </a:xfrm>
          <a:prstGeom prst="rect">
            <a:avLst/>
          </a:prstGeom>
          <a:noFill/>
          <a:ln w="19050">
            <a:solidFill>
              <a:srgbClr val="0099A8"/>
            </a:solidFill>
            <a:prstDash val="dash"/>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012957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559F55E-F9D5-4AD3-A0AF-B61A53DD127E}"/>
              </a:ext>
            </a:extLst>
          </p:cNvPr>
          <p:cNvSpPr>
            <a:spLocks noGrp="1"/>
          </p:cNvSpPr>
          <p:nvPr>
            <p:ph type="body" sz="quarter" idx="11"/>
          </p:nvPr>
        </p:nvSpPr>
        <p:spPr>
          <a:xfrm>
            <a:off x="10182225" y="7209634"/>
            <a:ext cx="3116263" cy="206082"/>
          </a:xfrm>
          <a:ln>
            <a:noFill/>
          </a:ln>
        </p:spPr>
        <p:txBody>
          <a:bodyPr vert="horz" lIns="0" tIns="0" rIns="0" bIns="0" rtlCol="0" anchor="ctr">
            <a:spAutoFit/>
          </a:bodyPr>
          <a:lstStyle/>
          <a:p>
            <a:pPr defTabSz="961706">
              <a:lnSpc>
                <a:spcPct val="100000"/>
              </a:lnSpc>
            </a:pPr>
            <a:r>
              <a:rPr lang="en-GB" dirty="0"/>
              <a:t>Source: Cinema UK / IHS Screen Digest from CAA/comScore</a:t>
            </a:r>
          </a:p>
        </p:txBody>
      </p:sp>
      <p:sp>
        <p:nvSpPr>
          <p:cNvPr id="3" name="Title 2">
            <a:extLst>
              <a:ext uri="{FF2B5EF4-FFF2-40B4-BE49-F238E27FC236}">
                <a16:creationId xmlns:a16="http://schemas.microsoft.com/office/drawing/2014/main" id="{757CA8F4-F313-4D05-9B95-F8A687EADC27}"/>
              </a:ext>
            </a:extLst>
          </p:cNvPr>
          <p:cNvSpPr>
            <a:spLocks noGrp="1"/>
          </p:cNvSpPr>
          <p:nvPr>
            <p:ph type="title"/>
          </p:nvPr>
        </p:nvSpPr>
        <p:spPr/>
        <p:txBody>
          <a:bodyPr/>
          <a:lstStyle/>
          <a:p>
            <a:r>
              <a:rPr lang="en-GB" dirty="0"/>
              <a:t>CINEMA REMAINS AN AFFORDABLE FORM OF ESCAPISM AND SOCIAL ACTIVITY </a:t>
            </a:r>
          </a:p>
        </p:txBody>
      </p:sp>
      <p:sp>
        <p:nvSpPr>
          <p:cNvPr id="4" name="Text Placeholder 3">
            <a:extLst>
              <a:ext uri="{FF2B5EF4-FFF2-40B4-BE49-F238E27FC236}">
                <a16:creationId xmlns:a16="http://schemas.microsoft.com/office/drawing/2014/main" id="{422EF565-81E4-48D8-92A4-B43561DA588A}"/>
              </a:ext>
            </a:extLst>
          </p:cNvPr>
          <p:cNvSpPr>
            <a:spLocks noGrp="1"/>
          </p:cNvSpPr>
          <p:nvPr>
            <p:ph type="body" sz="quarter" idx="27"/>
          </p:nvPr>
        </p:nvSpPr>
        <p:spPr>
          <a:xfrm>
            <a:off x="270623" y="651956"/>
            <a:ext cx="11797552" cy="436608"/>
          </a:xfrm>
        </p:spPr>
        <p:txBody>
          <a:bodyPr/>
          <a:lstStyle/>
          <a:p>
            <a:r>
              <a:rPr lang="en-GB" dirty="0"/>
              <a:t>Relative to other ‘out of home entertainment’ options cinema remains an affordable option with the average ticket price remaining around the same level since 2017</a:t>
            </a:r>
          </a:p>
        </p:txBody>
      </p:sp>
      <p:graphicFrame>
        <p:nvGraphicFramePr>
          <p:cNvPr id="9" name="Chart 8">
            <a:extLst>
              <a:ext uri="{FF2B5EF4-FFF2-40B4-BE49-F238E27FC236}">
                <a16:creationId xmlns:a16="http://schemas.microsoft.com/office/drawing/2014/main" id="{20552757-A9FE-48D9-A8CD-515ADB61A020}"/>
              </a:ext>
            </a:extLst>
          </p:cNvPr>
          <p:cNvGraphicFramePr/>
          <p:nvPr/>
        </p:nvGraphicFramePr>
        <p:xfrm>
          <a:off x="270000" y="1348353"/>
          <a:ext cx="12795070" cy="538860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821890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0" name="Straight Arrow Connector 89">
            <a:extLst>
              <a:ext uri="{FF2B5EF4-FFF2-40B4-BE49-F238E27FC236}">
                <a16:creationId xmlns:a16="http://schemas.microsoft.com/office/drawing/2014/main" id="{51E79271-E763-44D3-ADA7-16F6F416941D}"/>
              </a:ext>
            </a:extLst>
          </p:cNvPr>
          <p:cNvCxnSpPr>
            <a:cxnSpLocks/>
          </p:cNvCxnSpPr>
          <p:nvPr/>
        </p:nvCxnSpPr>
        <p:spPr>
          <a:xfrm>
            <a:off x="10713603" y="5571054"/>
            <a:ext cx="2165036" cy="0"/>
          </a:xfrm>
          <a:prstGeom prst="straightConnector1">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293F2F9B-6C34-4C75-BFCB-D8E4F11014D4}"/>
              </a:ext>
            </a:extLst>
          </p:cNvPr>
          <p:cNvCxnSpPr>
            <a:cxnSpLocks/>
          </p:cNvCxnSpPr>
          <p:nvPr/>
        </p:nvCxnSpPr>
        <p:spPr>
          <a:xfrm>
            <a:off x="11185754" y="4747782"/>
            <a:ext cx="1392111" cy="2895"/>
          </a:xfrm>
          <a:prstGeom prst="straightConnector1">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1F743727-CB7F-4CB1-B3ED-55C7454CEF30}"/>
              </a:ext>
            </a:extLst>
          </p:cNvPr>
          <p:cNvCxnSpPr>
            <a:cxnSpLocks/>
          </p:cNvCxnSpPr>
          <p:nvPr/>
        </p:nvCxnSpPr>
        <p:spPr>
          <a:xfrm flipH="1">
            <a:off x="10330776" y="4084518"/>
            <a:ext cx="1723155" cy="0"/>
          </a:xfrm>
          <a:prstGeom prst="straightConnector1">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C9229519-ACA8-449A-8BE5-6FCA9ED5F5D2}"/>
              </a:ext>
            </a:extLst>
          </p:cNvPr>
          <p:cNvCxnSpPr>
            <a:cxnSpLocks/>
          </p:cNvCxnSpPr>
          <p:nvPr/>
        </p:nvCxnSpPr>
        <p:spPr>
          <a:xfrm flipV="1">
            <a:off x="10097452" y="3379735"/>
            <a:ext cx="1754494" cy="33490"/>
          </a:xfrm>
          <a:prstGeom prst="straightConnector1">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58317341-AF3E-473A-8492-2B7DC1452945}"/>
              </a:ext>
            </a:extLst>
          </p:cNvPr>
          <p:cNvCxnSpPr>
            <a:cxnSpLocks/>
          </p:cNvCxnSpPr>
          <p:nvPr/>
        </p:nvCxnSpPr>
        <p:spPr>
          <a:xfrm>
            <a:off x="9871104" y="2929002"/>
            <a:ext cx="1314650" cy="0"/>
          </a:xfrm>
          <a:prstGeom prst="straightConnector1">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52C459F7-19A3-4030-923B-D5D48163ED11}"/>
              </a:ext>
            </a:extLst>
          </p:cNvPr>
          <p:cNvCxnSpPr>
            <a:cxnSpLocks/>
          </p:cNvCxnSpPr>
          <p:nvPr/>
        </p:nvCxnSpPr>
        <p:spPr>
          <a:xfrm flipV="1">
            <a:off x="6103723" y="1879318"/>
            <a:ext cx="3202053" cy="13252"/>
          </a:xfrm>
          <a:prstGeom prst="straightConnector1">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8D536FC-48D8-452E-A9D8-9F57DB754392}"/>
              </a:ext>
            </a:extLst>
          </p:cNvPr>
          <p:cNvCxnSpPr>
            <a:cxnSpLocks/>
          </p:cNvCxnSpPr>
          <p:nvPr/>
        </p:nvCxnSpPr>
        <p:spPr>
          <a:xfrm>
            <a:off x="6502208" y="2559457"/>
            <a:ext cx="2789710" cy="0"/>
          </a:xfrm>
          <a:prstGeom prst="straightConnector1">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33ECA4FA-C490-4D12-B195-4E5B85E3A444}"/>
              </a:ext>
            </a:extLst>
          </p:cNvPr>
          <p:cNvCxnSpPr>
            <a:cxnSpLocks/>
          </p:cNvCxnSpPr>
          <p:nvPr/>
        </p:nvCxnSpPr>
        <p:spPr>
          <a:xfrm flipV="1">
            <a:off x="5938264" y="3419558"/>
            <a:ext cx="2433774" cy="11576"/>
          </a:xfrm>
          <a:prstGeom prst="straightConnector1">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6185EB7-68AF-4550-B6DA-3BF11C3EF206}"/>
              </a:ext>
            </a:extLst>
          </p:cNvPr>
          <p:cNvCxnSpPr>
            <a:cxnSpLocks/>
          </p:cNvCxnSpPr>
          <p:nvPr/>
        </p:nvCxnSpPr>
        <p:spPr>
          <a:xfrm>
            <a:off x="6431758" y="4161861"/>
            <a:ext cx="3370960" cy="0"/>
          </a:xfrm>
          <a:prstGeom prst="straightConnector1">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B61A022-FA43-409A-B5A7-9589AF733249}"/>
              </a:ext>
            </a:extLst>
          </p:cNvPr>
          <p:cNvCxnSpPr>
            <a:cxnSpLocks/>
          </p:cNvCxnSpPr>
          <p:nvPr/>
        </p:nvCxnSpPr>
        <p:spPr>
          <a:xfrm>
            <a:off x="6812248" y="5242628"/>
            <a:ext cx="2530765" cy="0"/>
          </a:xfrm>
          <a:prstGeom prst="straightConnector1">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3A1DF180-4A3B-4BEE-963F-2E03F4F0236B}"/>
              </a:ext>
            </a:extLst>
          </p:cNvPr>
          <p:cNvCxnSpPr>
            <a:cxnSpLocks/>
          </p:cNvCxnSpPr>
          <p:nvPr/>
        </p:nvCxnSpPr>
        <p:spPr>
          <a:xfrm>
            <a:off x="6657047" y="6224986"/>
            <a:ext cx="2525865" cy="0"/>
          </a:xfrm>
          <a:prstGeom prst="straightConnector1">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26D8DC37-E2C9-462C-B0EB-D28BCF4CF64E}"/>
              </a:ext>
            </a:extLst>
          </p:cNvPr>
          <p:cNvCxnSpPr>
            <a:cxnSpLocks/>
          </p:cNvCxnSpPr>
          <p:nvPr/>
        </p:nvCxnSpPr>
        <p:spPr>
          <a:xfrm flipH="1">
            <a:off x="6464406" y="5707996"/>
            <a:ext cx="3318448" cy="11051"/>
          </a:xfrm>
          <a:prstGeom prst="straightConnector1">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D87BD75-2C51-4601-A4D6-00E8026C16BE}"/>
              </a:ext>
            </a:extLst>
          </p:cNvPr>
          <p:cNvCxnSpPr>
            <a:cxnSpLocks/>
          </p:cNvCxnSpPr>
          <p:nvPr/>
        </p:nvCxnSpPr>
        <p:spPr>
          <a:xfrm>
            <a:off x="10404158" y="5996990"/>
            <a:ext cx="2397442" cy="0"/>
          </a:xfrm>
          <a:prstGeom prst="straightConnector1">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45" name="Picture 44">
            <a:extLst>
              <a:ext uri="{FF2B5EF4-FFF2-40B4-BE49-F238E27FC236}">
                <a16:creationId xmlns:a16="http://schemas.microsoft.com/office/drawing/2014/main" id="{D3D23C1B-C06E-491F-9990-83E07086C5FF}"/>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7670" b="97050" l="9964" r="89674">
                        <a14:foregroundMark x1="36051" y1="17994" x2="36594" y2="27286"/>
                        <a14:foregroundMark x1="41304" y1="30088" x2="47826" y2="42035"/>
                        <a14:foregroundMark x1="43297" y1="7670" x2="31884" y2="25811"/>
                        <a14:foregroundMark x1="19022" y1="45870" x2="16667" y2="48673"/>
                        <a14:foregroundMark x1="45290" y1="69912" x2="45109" y2="77876"/>
                        <a14:foregroundMark x1="62862" y1="59292" x2="54891" y2="58997"/>
                        <a14:foregroundMark x1="25543" y1="8112" x2="22826" y2="10767"/>
                        <a14:foregroundMark x1="27536" y1="16372" x2="26812" y2="18289"/>
                        <a14:foregroundMark x1="28631" y1="33455" x2="29348" y2="33038"/>
                        <a14:foregroundMark x1="31341" y1="34824" x2="31341" y2="32153"/>
                        <a14:foregroundMark x1="33237" y1="35781" x2="33152" y2="35546"/>
                        <a14:foregroundMark x1="34058" y1="38053" x2="33435" y2="36330"/>
                        <a14:foregroundMark x1="29529" y1="39971" x2="29911" y2="38571"/>
                        <a14:foregroundMark x1="28261" y1="27729" x2="30254" y2="23156"/>
                        <a14:foregroundMark x1="19203" y1="19469" x2="19203" y2="14454"/>
                        <a14:foregroundMark x1="16486" y1="47788" x2="20471" y2="48673"/>
                        <a14:foregroundMark x1="31220" y1="49705" x2="30978" y2="50000"/>
                        <a14:foregroundMark x1="31341" y1="49558" x2="31220" y2="49705"/>
                        <a14:foregroundMark x1="38768" y1="62389" x2="41123" y2="64749"/>
                        <a14:foregroundMark x1="51812" y1="88643" x2="58877" y2="82006"/>
                        <a14:foregroundMark x1="30254" y1="50737" x2="30254" y2="52065"/>
                        <a14:foregroundMark x1="30254" y1="50147" x2="30254" y2="50737"/>
                        <a14:foregroundMark x1="30254" y1="49705" x2="30254" y2="50147"/>
                        <a14:foregroundMark x1="30254" y1="49263" x2="30254" y2="49705"/>
                        <a14:foregroundMark x1="27647" y1="50147" x2="28261" y2="50442"/>
                        <a14:foregroundMark x1="26726" y1="49705" x2="27647" y2="50147"/>
                        <a14:foregroundMark x1="21196" y1="47050" x2="26726" y2="49705"/>
                        <a14:foregroundMark x1="38587" y1="91740" x2="45290" y2="88791"/>
                        <a14:foregroundMark x1="30254" y1="97050" x2="34783" y2="92920"/>
                        <a14:foregroundMark x1="65399" y1="91003" x2="63587" y2="89823"/>
                        <a14:foregroundMark x1="25906" y1="35103" x2="25906" y2="35103"/>
                        <a14:foregroundMark x1="24275" y1="34366" x2="24275" y2="34366"/>
                        <a14:foregroundMark x1="24819" y1="36578" x2="24819" y2="36578"/>
                        <a14:backgroundMark x1="49094" y1="85251" x2="49638" y2="84513"/>
                        <a14:backgroundMark x1="50543" y1="83186" x2="48913" y2="84218"/>
                        <a14:backgroundMark x1="52717" y1="82301" x2="51268" y2="83333"/>
                        <a14:backgroundMark x1="28494" y1="36578" x2="27717" y2="37463"/>
                        <a14:backgroundMark x1="29788" y1="35103" x2="28494" y2="36578"/>
                        <a14:backgroundMark x1="30435" y1="34366" x2="29788" y2="35103"/>
                        <a14:backgroundMark x1="30616" y1="49705" x2="30616" y2="49705"/>
                        <a14:backgroundMark x1="30072" y1="49263" x2="30072" y2="49263"/>
                        <a14:backgroundMark x1="30254" y1="50737" x2="30254" y2="50737"/>
                        <a14:backgroundMark x1="30435" y1="50147" x2="30435" y2="50147"/>
                        <a14:backgroundMark x1="29710" y1="50147" x2="29710" y2="50147"/>
                        <a14:backgroundMark x1="30435" y1="50147" x2="30435" y2="50147"/>
                        <a14:backgroundMark x1="30435" y1="50147" x2="30254" y2="49410"/>
                      </a14:backgroundRemoval>
                    </a14:imgEffect>
                  </a14:imgLayer>
                </a14:imgProps>
              </a:ext>
            </a:extLst>
          </a:blip>
          <a:stretch>
            <a:fillRect/>
          </a:stretch>
        </p:blipFill>
        <p:spPr>
          <a:xfrm>
            <a:off x="7268475" y="854735"/>
            <a:ext cx="4660585" cy="5724414"/>
          </a:xfrm>
          <a:prstGeom prst="rect">
            <a:avLst/>
          </a:prstGeom>
        </p:spPr>
      </p:pic>
      <p:sp>
        <p:nvSpPr>
          <p:cNvPr id="33" name="TextBox 32">
            <a:extLst>
              <a:ext uri="{FF2B5EF4-FFF2-40B4-BE49-F238E27FC236}">
                <a16:creationId xmlns:a16="http://schemas.microsoft.com/office/drawing/2014/main" id="{C00DB53D-6E37-4EB0-A4EF-FD34EDEB7279}"/>
              </a:ext>
            </a:extLst>
          </p:cNvPr>
          <p:cNvSpPr txBox="1"/>
          <p:nvPr/>
        </p:nvSpPr>
        <p:spPr>
          <a:xfrm>
            <a:off x="6084267" y="1667922"/>
            <a:ext cx="2372424" cy="253916"/>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Playhouse Montrose, £8</a:t>
            </a:r>
          </a:p>
        </p:txBody>
      </p:sp>
      <p:sp>
        <p:nvSpPr>
          <p:cNvPr id="34" name="TextBox 33">
            <a:extLst>
              <a:ext uri="{FF2B5EF4-FFF2-40B4-BE49-F238E27FC236}">
                <a16:creationId xmlns:a16="http://schemas.microsoft.com/office/drawing/2014/main" id="{A04A2616-07B6-4522-9FA7-6CB4C3E6DE32}"/>
              </a:ext>
            </a:extLst>
          </p:cNvPr>
          <p:cNvSpPr txBox="1"/>
          <p:nvPr/>
        </p:nvSpPr>
        <p:spPr>
          <a:xfrm>
            <a:off x="6502208" y="2332240"/>
            <a:ext cx="2372424" cy="253916"/>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chemeClr val="bg1"/>
                </a:solidFill>
                <a:effectLst/>
                <a:uLnTx/>
                <a:uFillTx/>
                <a:latin typeface="Arial"/>
                <a:ea typeface="+mn-ea"/>
                <a:cs typeface="+mn-cs"/>
              </a:rPr>
              <a:t>Kino Leven, £8</a:t>
            </a:r>
          </a:p>
        </p:txBody>
      </p:sp>
      <p:sp>
        <p:nvSpPr>
          <p:cNvPr id="35" name="TextBox 34">
            <a:extLst>
              <a:ext uri="{FF2B5EF4-FFF2-40B4-BE49-F238E27FC236}">
                <a16:creationId xmlns:a16="http://schemas.microsoft.com/office/drawing/2014/main" id="{AE823FEE-5570-44E2-A247-40098B44734B}"/>
              </a:ext>
            </a:extLst>
          </p:cNvPr>
          <p:cNvSpPr txBox="1"/>
          <p:nvPr/>
        </p:nvSpPr>
        <p:spPr>
          <a:xfrm>
            <a:off x="5912145" y="3193647"/>
            <a:ext cx="2372424" cy="253916"/>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IMC Banbridge, £7</a:t>
            </a:r>
          </a:p>
        </p:txBody>
      </p:sp>
      <p:sp>
        <p:nvSpPr>
          <p:cNvPr id="36" name="TextBox 35">
            <a:extLst>
              <a:ext uri="{FF2B5EF4-FFF2-40B4-BE49-F238E27FC236}">
                <a16:creationId xmlns:a16="http://schemas.microsoft.com/office/drawing/2014/main" id="{9EE3347D-1A12-4BD9-AFEB-EDF2D649996A}"/>
              </a:ext>
            </a:extLst>
          </p:cNvPr>
          <p:cNvSpPr txBox="1"/>
          <p:nvPr/>
        </p:nvSpPr>
        <p:spPr>
          <a:xfrm>
            <a:off x="6562551" y="5971070"/>
            <a:ext cx="2372424" cy="253916"/>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Picturedrome Bognor Regis, £3.50</a:t>
            </a:r>
          </a:p>
        </p:txBody>
      </p:sp>
      <p:sp>
        <p:nvSpPr>
          <p:cNvPr id="37" name="TextBox 36">
            <a:extLst>
              <a:ext uri="{FF2B5EF4-FFF2-40B4-BE49-F238E27FC236}">
                <a16:creationId xmlns:a16="http://schemas.microsoft.com/office/drawing/2014/main" id="{C431A071-3DBB-471A-9107-CBBCACA87767}"/>
              </a:ext>
            </a:extLst>
          </p:cNvPr>
          <p:cNvSpPr txBox="1"/>
          <p:nvPr/>
        </p:nvSpPr>
        <p:spPr>
          <a:xfrm>
            <a:off x="6789148" y="5018030"/>
            <a:ext cx="3120257" cy="253916"/>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Vue Merthyr Tydfil, £6</a:t>
            </a:r>
          </a:p>
        </p:txBody>
      </p:sp>
      <p:cxnSp>
        <p:nvCxnSpPr>
          <p:cNvPr id="28" name="Straight Arrow Connector 27">
            <a:extLst>
              <a:ext uri="{FF2B5EF4-FFF2-40B4-BE49-F238E27FC236}">
                <a16:creationId xmlns:a16="http://schemas.microsoft.com/office/drawing/2014/main" id="{EDC3BFA0-8814-494A-A6A2-90A20C8A41D5}"/>
              </a:ext>
            </a:extLst>
          </p:cNvPr>
          <p:cNvCxnSpPr>
            <a:cxnSpLocks/>
          </p:cNvCxnSpPr>
          <p:nvPr/>
        </p:nvCxnSpPr>
        <p:spPr>
          <a:xfrm>
            <a:off x="6683253" y="4815803"/>
            <a:ext cx="3370960" cy="0"/>
          </a:xfrm>
          <a:prstGeom prst="straightConnector1">
            <a:avLst/>
          </a:prstGeom>
          <a:ln>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252731ED-61D8-485E-8779-B97E8F2CCBEE}"/>
              </a:ext>
            </a:extLst>
          </p:cNvPr>
          <p:cNvSpPr txBox="1"/>
          <p:nvPr/>
        </p:nvSpPr>
        <p:spPr>
          <a:xfrm>
            <a:off x="11399717" y="5351644"/>
            <a:ext cx="1615894" cy="253916"/>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Vue Leicester Sq, £10</a:t>
            </a:r>
          </a:p>
        </p:txBody>
      </p:sp>
      <p:sp>
        <p:nvSpPr>
          <p:cNvPr id="40" name="TextBox 39">
            <a:extLst>
              <a:ext uri="{FF2B5EF4-FFF2-40B4-BE49-F238E27FC236}">
                <a16:creationId xmlns:a16="http://schemas.microsoft.com/office/drawing/2014/main" id="{4D5139D3-CF5F-43BF-8810-8AF036672C48}"/>
              </a:ext>
            </a:extLst>
          </p:cNvPr>
          <p:cNvSpPr txBox="1"/>
          <p:nvPr/>
        </p:nvSpPr>
        <p:spPr>
          <a:xfrm>
            <a:off x="10543338" y="3177999"/>
            <a:ext cx="1395450" cy="253916"/>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Vue Gateshead, £5</a:t>
            </a:r>
          </a:p>
        </p:txBody>
      </p:sp>
      <p:sp>
        <p:nvSpPr>
          <p:cNvPr id="41" name="TextBox 40">
            <a:extLst>
              <a:ext uri="{FF2B5EF4-FFF2-40B4-BE49-F238E27FC236}">
                <a16:creationId xmlns:a16="http://schemas.microsoft.com/office/drawing/2014/main" id="{D0DC7627-DA25-488E-A9BC-4082F3BDFBBB}"/>
              </a:ext>
            </a:extLst>
          </p:cNvPr>
          <p:cNvSpPr txBox="1"/>
          <p:nvPr/>
        </p:nvSpPr>
        <p:spPr>
          <a:xfrm>
            <a:off x="11443239" y="4535673"/>
            <a:ext cx="1435400" cy="253916"/>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Merlin Regal, £8 </a:t>
            </a:r>
          </a:p>
        </p:txBody>
      </p:sp>
      <p:sp>
        <p:nvSpPr>
          <p:cNvPr id="42" name="Title 1">
            <a:extLst>
              <a:ext uri="{FF2B5EF4-FFF2-40B4-BE49-F238E27FC236}">
                <a16:creationId xmlns:a16="http://schemas.microsoft.com/office/drawing/2014/main" id="{75EAE1D4-CD27-40D0-A758-050B0FEF0562}"/>
              </a:ext>
            </a:extLst>
          </p:cNvPr>
          <p:cNvSpPr>
            <a:spLocks noGrp="1"/>
          </p:cNvSpPr>
          <p:nvPr>
            <p:ph type="title"/>
          </p:nvPr>
        </p:nvSpPr>
        <p:spPr>
          <a:xfrm>
            <a:off x="270000" y="270000"/>
            <a:ext cx="12413343" cy="297159"/>
          </a:xfrm>
        </p:spPr>
        <p:txBody>
          <a:bodyPr/>
          <a:lstStyle/>
          <a:p>
            <a:r>
              <a:rPr lang="en-GB" dirty="0"/>
              <a:t>CENTRAL LONDON PRICES AREN’T REFLECTIVE OF CINEMAS ACROSS GB</a:t>
            </a:r>
          </a:p>
        </p:txBody>
      </p:sp>
      <p:sp>
        <p:nvSpPr>
          <p:cNvPr id="43" name="Text Placeholder 17">
            <a:extLst>
              <a:ext uri="{FF2B5EF4-FFF2-40B4-BE49-F238E27FC236}">
                <a16:creationId xmlns:a16="http://schemas.microsoft.com/office/drawing/2014/main" id="{4E4B731B-00E5-415D-86DB-F36FE7E2323A}"/>
              </a:ext>
            </a:extLst>
          </p:cNvPr>
          <p:cNvSpPr txBox="1">
            <a:spLocks/>
          </p:cNvSpPr>
          <p:nvPr/>
        </p:nvSpPr>
        <p:spPr>
          <a:xfrm>
            <a:off x="234175" y="901790"/>
            <a:ext cx="5201287" cy="5172157"/>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As the cost-of-living crisis continues and the potential for entering a recession remains a possibility in 2024, household budgets are unsurprisingly being tightened. </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lang="en-GB" sz="1400" b="0" dirty="0">
              <a:solidFill>
                <a:srgbClr val="000000"/>
              </a:solidFill>
              <a:latin typeface="Arial"/>
            </a:endParaRP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People will look for ways to reduce and restrict outgoings. Howeve</a:t>
            </a:r>
            <a:r>
              <a:rPr kumimoji="0" lang="en-GB" sz="1400" b="0" i="0" u="none" strike="noStrike" kern="1200" cap="none" spc="0" normalizeH="0" baseline="0" noProof="0" dirty="0">
                <a:ln>
                  <a:noFill/>
                </a:ln>
                <a:solidFill>
                  <a:schemeClr val="bg1"/>
                </a:solidFill>
                <a:effectLst/>
                <a:uLnTx/>
                <a:uFillTx/>
                <a:latin typeface="Arial"/>
                <a:ea typeface="+mn-ea"/>
                <a:cs typeface="+mn-cs"/>
              </a:rPr>
              <a:t>r</a:t>
            </a:r>
            <a:r>
              <a:rPr kumimoji="0" lang="en-GB" sz="1400" i="0" u="none" strike="noStrike" kern="1200" cap="none" spc="0" normalizeH="0" baseline="0" noProof="0" dirty="0">
                <a:ln>
                  <a:noFill/>
                </a:ln>
                <a:solidFill>
                  <a:schemeClr val="bg1"/>
                </a:solidFill>
                <a:effectLst/>
                <a:uLnTx/>
                <a:uFillTx/>
                <a:latin typeface="Arial"/>
                <a:ea typeface="+mn-ea"/>
                <a:cs typeface="+mn-cs"/>
              </a:rPr>
              <a:t>, </a:t>
            </a:r>
            <a:r>
              <a:rPr kumimoji="0" lang="en-GB" sz="1400" i="0" u="none" strike="noStrike" kern="1200" cap="none" spc="0" normalizeH="0" baseline="0" noProof="0" dirty="0">
                <a:ln>
                  <a:noFill/>
                </a:ln>
                <a:solidFill>
                  <a:schemeClr val="bg2"/>
                </a:solidFill>
                <a:effectLst/>
                <a:uLnTx/>
                <a:uFillTx/>
                <a:latin typeface="Arial"/>
                <a:ea typeface="+mn-ea"/>
                <a:cs typeface="+mn-cs"/>
              </a:rPr>
              <a:t>in the last recession cinema admissions grew YOY </a:t>
            </a:r>
            <a:r>
              <a:rPr kumimoji="0" lang="en-GB" sz="1400" b="0" i="0" u="none" strike="noStrike" kern="1200" cap="none" spc="0" normalizeH="0" baseline="0" noProof="0" dirty="0">
                <a:ln>
                  <a:noFill/>
                </a:ln>
                <a:solidFill>
                  <a:srgbClr val="000000"/>
                </a:solidFill>
                <a:effectLst/>
                <a:uLnTx/>
                <a:uFillTx/>
                <a:latin typeface="Arial"/>
                <a:ea typeface="+mn-ea"/>
                <a:cs typeface="+mn-cs"/>
              </a:rPr>
              <a:t>– driven by a good film slate and cinema remaining a more affordable out-of-home entertainment option than other competing activities. </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i="0" u="none" strike="noStrike" kern="1200" cap="none" spc="0" normalizeH="0" baseline="0" noProof="0" dirty="0">
                <a:ln>
                  <a:noFill/>
                </a:ln>
                <a:solidFill>
                  <a:schemeClr val="bg2"/>
                </a:solidFill>
                <a:effectLst/>
                <a:uLnTx/>
                <a:uFillTx/>
                <a:latin typeface="Arial"/>
                <a:ea typeface="+mn-ea"/>
                <a:cs typeface="+mn-cs"/>
              </a:rPr>
              <a:t>In 2023, the average ticket price was £7.92 </a:t>
            </a:r>
            <a:r>
              <a:rPr kumimoji="0" lang="en-GB" sz="1400" b="0" i="0" u="none" strike="noStrike" kern="1200" cap="none" spc="0" normalizeH="0" baseline="0" noProof="0" dirty="0">
                <a:ln>
                  <a:noFill/>
                </a:ln>
                <a:solidFill>
                  <a:srgbClr val="000000"/>
                </a:solidFill>
                <a:effectLst/>
                <a:uLnTx/>
                <a:uFillTx/>
                <a:latin typeface="Arial"/>
                <a:ea typeface="+mn-ea"/>
                <a:cs typeface="+mn-cs"/>
              </a:rPr>
              <a:t>and while this figure isn’t available by region it is important to highlight that perceptions of cinema pricing based on London will not be reflective of the rest of the country. </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As the map opposite demonstrates </a:t>
            </a:r>
            <a:r>
              <a:rPr kumimoji="0" lang="en-GB" sz="1400" i="0" u="none" strike="noStrike" kern="1200" cap="none" spc="0" normalizeH="0" baseline="0" noProof="0" dirty="0">
                <a:ln>
                  <a:noFill/>
                </a:ln>
                <a:solidFill>
                  <a:schemeClr val="bg2"/>
                </a:solidFill>
                <a:effectLst/>
                <a:uLnTx/>
                <a:uFillTx/>
                <a:latin typeface="Arial"/>
                <a:ea typeface="+mn-ea"/>
                <a:cs typeface="+mn-cs"/>
              </a:rPr>
              <a:t>many cinemas continue to offer adult tickets to major blockbuster titles for £5-8</a:t>
            </a:r>
            <a:r>
              <a:rPr kumimoji="0" lang="en-GB" sz="1400" b="0" i="0" u="none" strike="noStrike" kern="1200" cap="none" spc="0" normalizeH="0" baseline="0" noProof="0" dirty="0">
                <a:ln>
                  <a:noFill/>
                </a:ln>
                <a:solidFill>
                  <a:srgbClr val="000000"/>
                </a:solidFill>
                <a:effectLst/>
                <a:uLnTx/>
                <a:uFillTx/>
                <a:latin typeface="Arial"/>
                <a:ea typeface="+mn-ea"/>
                <a:cs typeface="+mn-cs"/>
              </a:rPr>
              <a:t>, with cinemagoers in the South West still able to see films for </a:t>
            </a:r>
            <a:r>
              <a:rPr kumimoji="0" lang="en-GB" sz="1400" i="0" u="none" strike="noStrike" kern="1200" cap="none" spc="0" normalizeH="0" baseline="0" noProof="0" dirty="0">
                <a:ln>
                  <a:noFill/>
                </a:ln>
                <a:solidFill>
                  <a:schemeClr val="bg2"/>
                </a:solidFill>
                <a:effectLst/>
                <a:uLnTx/>
                <a:uFillTx/>
                <a:latin typeface="Arial"/>
                <a:ea typeface="+mn-ea"/>
                <a:cs typeface="+mn-cs"/>
              </a:rPr>
              <a:t>as little as £3.50</a:t>
            </a:r>
            <a:r>
              <a:rPr kumimoji="0" lang="en-GB" sz="1400" b="0" i="0" u="none" strike="noStrike" kern="1200" cap="none" spc="0" normalizeH="0" baseline="0" noProof="0" dirty="0">
                <a:ln>
                  <a:noFill/>
                </a:ln>
                <a:solidFill>
                  <a:schemeClr val="bg2"/>
                </a:solidFill>
                <a:effectLst/>
                <a:uLnTx/>
                <a:uFillTx/>
                <a:latin typeface="Arial"/>
                <a:ea typeface="+mn-ea"/>
                <a:cs typeface="+mn-cs"/>
              </a:rPr>
              <a:t>!</a:t>
            </a:r>
          </a:p>
        </p:txBody>
      </p:sp>
      <p:sp>
        <p:nvSpPr>
          <p:cNvPr id="44" name="TextBox 43">
            <a:extLst>
              <a:ext uri="{FF2B5EF4-FFF2-40B4-BE49-F238E27FC236}">
                <a16:creationId xmlns:a16="http://schemas.microsoft.com/office/drawing/2014/main" id="{E1C5A03F-7F46-40FE-A583-F4E69C248687}"/>
              </a:ext>
            </a:extLst>
          </p:cNvPr>
          <p:cNvSpPr txBox="1"/>
          <p:nvPr/>
        </p:nvSpPr>
        <p:spPr>
          <a:xfrm>
            <a:off x="11114343" y="5790465"/>
            <a:ext cx="1748947" cy="253916"/>
          </a:xfrm>
          <a:prstGeom prst="rect">
            <a:avLst/>
          </a:prstGeom>
          <a:noFill/>
          <a:ln>
            <a:noFill/>
          </a:ln>
        </p:spPr>
        <p:txBody>
          <a:bodyPr wrap="square">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Plaza Dorchester, £3.50</a:t>
            </a:r>
          </a:p>
        </p:txBody>
      </p:sp>
      <p:sp>
        <p:nvSpPr>
          <p:cNvPr id="63" name="TextBox 62">
            <a:extLst>
              <a:ext uri="{FF2B5EF4-FFF2-40B4-BE49-F238E27FC236}">
                <a16:creationId xmlns:a16="http://schemas.microsoft.com/office/drawing/2014/main" id="{FBDA82A4-2EC3-49FD-A901-F9DE32565A1E}"/>
              </a:ext>
            </a:extLst>
          </p:cNvPr>
          <p:cNvSpPr txBox="1"/>
          <p:nvPr/>
        </p:nvSpPr>
        <p:spPr>
          <a:xfrm>
            <a:off x="6464294" y="5503357"/>
            <a:ext cx="3120257" cy="253916"/>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Vue Bristol Cribbs, £7</a:t>
            </a:r>
          </a:p>
        </p:txBody>
      </p:sp>
      <p:sp>
        <p:nvSpPr>
          <p:cNvPr id="65" name="TextBox 64">
            <a:extLst>
              <a:ext uri="{FF2B5EF4-FFF2-40B4-BE49-F238E27FC236}">
                <a16:creationId xmlns:a16="http://schemas.microsoft.com/office/drawing/2014/main" id="{684FC789-43C1-4776-8788-5E00FC8AC1A8}"/>
              </a:ext>
            </a:extLst>
          </p:cNvPr>
          <p:cNvSpPr txBox="1"/>
          <p:nvPr/>
        </p:nvSpPr>
        <p:spPr>
          <a:xfrm>
            <a:off x="10097452" y="2721763"/>
            <a:ext cx="2372424" cy="253916"/>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Vue Carlisle, £5</a:t>
            </a:r>
          </a:p>
        </p:txBody>
      </p:sp>
      <p:sp>
        <p:nvSpPr>
          <p:cNvPr id="66" name="TextBox 65">
            <a:extLst>
              <a:ext uri="{FF2B5EF4-FFF2-40B4-BE49-F238E27FC236}">
                <a16:creationId xmlns:a16="http://schemas.microsoft.com/office/drawing/2014/main" id="{B49482F8-2818-4EFF-A158-E9959FD83454}"/>
              </a:ext>
            </a:extLst>
          </p:cNvPr>
          <p:cNvSpPr txBox="1"/>
          <p:nvPr/>
        </p:nvSpPr>
        <p:spPr>
          <a:xfrm>
            <a:off x="6446225" y="3956360"/>
            <a:ext cx="2372424" cy="253916"/>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Cinemac Macclesfield, £6</a:t>
            </a:r>
          </a:p>
        </p:txBody>
      </p:sp>
      <p:sp>
        <p:nvSpPr>
          <p:cNvPr id="67" name="TextBox 66">
            <a:extLst>
              <a:ext uri="{FF2B5EF4-FFF2-40B4-BE49-F238E27FC236}">
                <a16:creationId xmlns:a16="http://schemas.microsoft.com/office/drawing/2014/main" id="{48767105-44ED-4BBD-994E-FFAEDD12942F}"/>
              </a:ext>
            </a:extLst>
          </p:cNvPr>
          <p:cNvSpPr txBox="1"/>
          <p:nvPr/>
        </p:nvSpPr>
        <p:spPr>
          <a:xfrm>
            <a:off x="11087657" y="3863649"/>
            <a:ext cx="966274" cy="253916"/>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Reel Hull, £6</a:t>
            </a:r>
          </a:p>
        </p:txBody>
      </p:sp>
      <p:sp>
        <p:nvSpPr>
          <p:cNvPr id="76" name="TextBox 75">
            <a:extLst>
              <a:ext uri="{FF2B5EF4-FFF2-40B4-BE49-F238E27FC236}">
                <a16:creationId xmlns:a16="http://schemas.microsoft.com/office/drawing/2014/main" id="{F9C14DF6-F120-4CE4-9C09-474A1B7911B8}"/>
              </a:ext>
            </a:extLst>
          </p:cNvPr>
          <p:cNvSpPr txBox="1"/>
          <p:nvPr/>
        </p:nvSpPr>
        <p:spPr>
          <a:xfrm>
            <a:off x="6668687" y="4595102"/>
            <a:ext cx="1931114" cy="253916"/>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Nottingham Savoy, £7</a:t>
            </a:r>
          </a:p>
        </p:txBody>
      </p:sp>
      <p:sp>
        <p:nvSpPr>
          <p:cNvPr id="96" name="Text Placeholder 17">
            <a:extLst>
              <a:ext uri="{FF2B5EF4-FFF2-40B4-BE49-F238E27FC236}">
                <a16:creationId xmlns:a16="http://schemas.microsoft.com/office/drawing/2014/main" id="{C15881A6-066B-46D6-906E-44214519EF3A}"/>
              </a:ext>
            </a:extLst>
          </p:cNvPr>
          <p:cNvSpPr txBox="1">
            <a:spLocks/>
          </p:cNvSpPr>
          <p:nvPr/>
        </p:nvSpPr>
        <p:spPr>
          <a:xfrm>
            <a:off x="7094793" y="7201471"/>
            <a:ext cx="6219631" cy="230153"/>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900" b="0" i="0" u="none" strike="noStrike" kern="1200" cap="none" spc="0" normalizeH="0" baseline="0" noProof="0" dirty="0">
                <a:ln>
                  <a:noFill/>
                </a:ln>
                <a:solidFill>
                  <a:srgbClr val="000000"/>
                </a:solidFill>
                <a:effectLst/>
                <a:uLnTx/>
                <a:uFillTx/>
                <a:latin typeface="Arial"/>
                <a:ea typeface="+mn-ea"/>
                <a:cs typeface="+mn-cs"/>
              </a:rPr>
              <a:t>Based on adult ticket to Friday evening screenings of Mean Girls, 26 January 2024</a:t>
            </a:r>
          </a:p>
        </p:txBody>
      </p:sp>
    </p:spTree>
    <p:extLst>
      <p:ext uri="{BB962C8B-B14F-4D97-AF65-F5344CB8AC3E}">
        <p14:creationId xmlns:p14="http://schemas.microsoft.com/office/powerpoint/2010/main" val="2589886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Placeholder 29" descr="A group of people posing for a picture&#10;&#10;Description automatically generated">
            <a:extLst>
              <a:ext uri="{FF2B5EF4-FFF2-40B4-BE49-F238E27FC236}">
                <a16:creationId xmlns:a16="http://schemas.microsoft.com/office/drawing/2014/main" id="{C57E4F6B-6DD0-43CF-8284-EF1027995272}"/>
              </a:ext>
            </a:extLst>
          </p:cNvPr>
          <p:cNvPicPr>
            <a:picLocks noGrp="1" noChangeAspect="1"/>
          </p:cNvPicPr>
          <p:nvPr>
            <p:ph type="pic" sz="quarter" idx="34"/>
          </p:nvPr>
        </p:nvPicPr>
        <p:blipFill rotWithShape="1">
          <a:blip r:embed="rId2" cstate="print">
            <a:extLst>
              <a:ext uri="{28A0092B-C50C-407E-A947-70E740481C1C}">
                <a14:useLocalDpi xmlns:a14="http://schemas.microsoft.com/office/drawing/2010/main"/>
              </a:ext>
            </a:extLst>
          </a:blip>
          <a:srcRect/>
          <a:stretch/>
        </p:blipFill>
        <p:spPr>
          <a:xfrm>
            <a:off x="501968" y="1958340"/>
            <a:ext cx="1862578" cy="2751975"/>
          </a:xfrm>
        </p:spPr>
      </p:pic>
      <p:sp>
        <p:nvSpPr>
          <p:cNvPr id="8" name="Title 7">
            <a:extLst>
              <a:ext uri="{FF2B5EF4-FFF2-40B4-BE49-F238E27FC236}">
                <a16:creationId xmlns:a16="http://schemas.microsoft.com/office/drawing/2014/main" id="{8CE2EC38-38FD-435C-947B-C3C5F67225A6}"/>
              </a:ext>
            </a:extLst>
          </p:cNvPr>
          <p:cNvSpPr>
            <a:spLocks noGrp="1"/>
          </p:cNvSpPr>
          <p:nvPr>
            <p:ph type="title"/>
          </p:nvPr>
        </p:nvSpPr>
        <p:spPr/>
        <p:txBody>
          <a:bodyPr/>
          <a:lstStyle/>
          <a:p>
            <a:r>
              <a:rPr lang="en-GB" dirty="0"/>
              <a:t>DURING THE LAST RECESSION HUGE BLOCKBUSTERS STILL SUCCEEDED</a:t>
            </a:r>
          </a:p>
        </p:txBody>
      </p:sp>
      <p:sp>
        <p:nvSpPr>
          <p:cNvPr id="15" name="Text Placeholder 14">
            <a:extLst>
              <a:ext uri="{FF2B5EF4-FFF2-40B4-BE49-F238E27FC236}">
                <a16:creationId xmlns:a16="http://schemas.microsoft.com/office/drawing/2014/main" id="{114A3D26-E863-4BC8-B595-B80AB42755B5}"/>
              </a:ext>
            </a:extLst>
          </p:cNvPr>
          <p:cNvSpPr>
            <a:spLocks noGrp="1"/>
          </p:cNvSpPr>
          <p:nvPr>
            <p:ph type="body" sz="quarter" idx="35"/>
          </p:nvPr>
        </p:nvSpPr>
        <p:spPr>
          <a:xfrm>
            <a:off x="501969" y="4800315"/>
            <a:ext cx="1862578" cy="152078"/>
          </a:xfrm>
        </p:spPr>
        <p:txBody>
          <a:bodyPr/>
          <a:lstStyle/>
          <a:p>
            <a:r>
              <a:rPr lang="en-GB" dirty="0"/>
              <a:t>Mamma Mia!</a:t>
            </a:r>
          </a:p>
        </p:txBody>
      </p:sp>
      <p:pic>
        <p:nvPicPr>
          <p:cNvPr id="32" name="Picture Placeholder 31" descr="A person and person walking on a beach&#10;&#10;Description automatically generated with medium confidence">
            <a:extLst>
              <a:ext uri="{FF2B5EF4-FFF2-40B4-BE49-F238E27FC236}">
                <a16:creationId xmlns:a16="http://schemas.microsoft.com/office/drawing/2014/main" id="{99BFA1C7-3212-4E19-918D-F6EF6FE44DAD}"/>
              </a:ext>
            </a:extLst>
          </p:cNvPr>
          <p:cNvPicPr>
            <a:picLocks noGrp="1" noChangeAspect="1"/>
          </p:cNvPicPr>
          <p:nvPr>
            <p:ph type="pic" sz="quarter" idx="37"/>
          </p:nvPr>
        </p:nvPicPr>
        <p:blipFill rotWithShape="1">
          <a:blip r:embed="rId3" cstate="print">
            <a:extLst>
              <a:ext uri="{28A0092B-C50C-407E-A947-70E740481C1C}">
                <a14:useLocalDpi xmlns:a14="http://schemas.microsoft.com/office/drawing/2010/main"/>
              </a:ext>
            </a:extLst>
          </a:blip>
          <a:srcRect/>
          <a:stretch/>
        </p:blipFill>
        <p:spPr>
          <a:xfrm>
            <a:off x="2605087" y="2884170"/>
            <a:ext cx="1862578" cy="2751975"/>
          </a:xfrm>
        </p:spPr>
      </p:pic>
      <p:sp>
        <p:nvSpPr>
          <p:cNvPr id="21" name="Text Placeholder 20">
            <a:extLst>
              <a:ext uri="{FF2B5EF4-FFF2-40B4-BE49-F238E27FC236}">
                <a16:creationId xmlns:a16="http://schemas.microsoft.com/office/drawing/2014/main" id="{FE5DDC98-23A9-4171-AF84-04A9C34DF6B0}"/>
              </a:ext>
            </a:extLst>
          </p:cNvPr>
          <p:cNvSpPr>
            <a:spLocks noGrp="1"/>
          </p:cNvSpPr>
          <p:nvPr>
            <p:ph type="body" sz="quarter" idx="38"/>
          </p:nvPr>
        </p:nvSpPr>
        <p:spPr>
          <a:xfrm>
            <a:off x="2605089" y="5726145"/>
            <a:ext cx="1862578" cy="152078"/>
          </a:xfrm>
        </p:spPr>
        <p:txBody>
          <a:bodyPr/>
          <a:lstStyle/>
          <a:p>
            <a:r>
              <a:rPr lang="en-GB" dirty="0"/>
              <a:t>Quantum of Solace</a:t>
            </a:r>
          </a:p>
        </p:txBody>
      </p:sp>
      <p:pic>
        <p:nvPicPr>
          <p:cNvPr id="34" name="Picture Placeholder 33" descr="A person standing in front of a poster&#10;&#10;Description automatically generated with low confidence">
            <a:extLst>
              <a:ext uri="{FF2B5EF4-FFF2-40B4-BE49-F238E27FC236}">
                <a16:creationId xmlns:a16="http://schemas.microsoft.com/office/drawing/2014/main" id="{73D1E975-ECB7-4D56-ACCE-2F3255F5473C}"/>
              </a:ext>
            </a:extLst>
          </p:cNvPr>
          <p:cNvPicPr>
            <a:picLocks noGrp="1" noChangeAspect="1"/>
          </p:cNvPicPr>
          <p:nvPr>
            <p:ph type="pic" sz="quarter" idx="40"/>
          </p:nvPr>
        </p:nvPicPr>
        <p:blipFill rotWithShape="1">
          <a:blip r:embed="rId4" cstate="print">
            <a:extLst>
              <a:ext uri="{28A0092B-C50C-407E-A947-70E740481C1C}">
                <a14:useLocalDpi xmlns:a14="http://schemas.microsoft.com/office/drawing/2010/main"/>
              </a:ext>
            </a:extLst>
          </a:blip>
          <a:srcRect/>
          <a:stretch/>
        </p:blipFill>
        <p:spPr>
          <a:xfrm>
            <a:off x="4708206" y="1958340"/>
            <a:ext cx="1862578" cy="2751975"/>
          </a:xfrm>
        </p:spPr>
      </p:pic>
      <p:sp>
        <p:nvSpPr>
          <p:cNvPr id="27" name="Text Placeholder 26">
            <a:extLst>
              <a:ext uri="{FF2B5EF4-FFF2-40B4-BE49-F238E27FC236}">
                <a16:creationId xmlns:a16="http://schemas.microsoft.com/office/drawing/2014/main" id="{943B9773-826B-401E-A0FE-70277076D526}"/>
              </a:ext>
            </a:extLst>
          </p:cNvPr>
          <p:cNvSpPr>
            <a:spLocks noGrp="1"/>
          </p:cNvSpPr>
          <p:nvPr>
            <p:ph type="body" sz="quarter" idx="41"/>
          </p:nvPr>
        </p:nvSpPr>
        <p:spPr>
          <a:xfrm>
            <a:off x="4708208" y="4800315"/>
            <a:ext cx="1862578" cy="152078"/>
          </a:xfrm>
        </p:spPr>
        <p:txBody>
          <a:bodyPr/>
          <a:lstStyle/>
          <a:p>
            <a:r>
              <a:rPr lang="en-GB" dirty="0"/>
              <a:t>Harry Potter &amp; The Half Blood Prince</a:t>
            </a:r>
          </a:p>
        </p:txBody>
      </p:sp>
      <p:pic>
        <p:nvPicPr>
          <p:cNvPr id="36" name="Picture Placeholder 35" descr="A picture containing text, mountain&#10;&#10;Description automatically generated">
            <a:extLst>
              <a:ext uri="{FF2B5EF4-FFF2-40B4-BE49-F238E27FC236}">
                <a16:creationId xmlns:a16="http://schemas.microsoft.com/office/drawing/2014/main" id="{659D28FB-C369-474C-B702-5227260E38B5}"/>
              </a:ext>
            </a:extLst>
          </p:cNvPr>
          <p:cNvPicPr>
            <a:picLocks noGrp="1" noChangeAspect="1"/>
          </p:cNvPicPr>
          <p:nvPr>
            <p:ph type="pic" sz="quarter" idx="43"/>
          </p:nvPr>
        </p:nvPicPr>
        <p:blipFill rotWithShape="1">
          <a:blip r:embed="rId5" cstate="print">
            <a:extLst>
              <a:ext uri="{28A0092B-C50C-407E-A947-70E740481C1C}">
                <a14:useLocalDpi xmlns:a14="http://schemas.microsoft.com/office/drawing/2010/main"/>
              </a:ext>
            </a:extLst>
          </a:blip>
          <a:srcRect/>
          <a:stretch/>
        </p:blipFill>
        <p:spPr>
          <a:xfrm>
            <a:off x="6811325" y="2884170"/>
            <a:ext cx="1862578" cy="2751975"/>
          </a:xfrm>
        </p:spPr>
      </p:pic>
      <p:sp>
        <p:nvSpPr>
          <p:cNvPr id="4" name="Text Placeholder 3">
            <a:extLst>
              <a:ext uri="{FF2B5EF4-FFF2-40B4-BE49-F238E27FC236}">
                <a16:creationId xmlns:a16="http://schemas.microsoft.com/office/drawing/2014/main" id="{FDBEEE20-70B7-4DA0-B4B7-376755F67FD0}"/>
              </a:ext>
            </a:extLst>
          </p:cNvPr>
          <p:cNvSpPr>
            <a:spLocks noGrp="1"/>
          </p:cNvSpPr>
          <p:nvPr>
            <p:ph type="body" sz="quarter" idx="44"/>
          </p:nvPr>
        </p:nvSpPr>
        <p:spPr>
          <a:xfrm>
            <a:off x="6811327" y="5726145"/>
            <a:ext cx="1862578" cy="152078"/>
          </a:xfrm>
        </p:spPr>
        <p:txBody>
          <a:bodyPr/>
          <a:lstStyle/>
          <a:p>
            <a:r>
              <a:rPr lang="en-GB" dirty="0"/>
              <a:t>The Dark Knight</a:t>
            </a:r>
          </a:p>
        </p:txBody>
      </p:sp>
      <p:pic>
        <p:nvPicPr>
          <p:cNvPr id="38" name="Picture Placeholder 37" descr="A person wearing a hat&#10;&#10;Description automatically generated with low confidence">
            <a:extLst>
              <a:ext uri="{FF2B5EF4-FFF2-40B4-BE49-F238E27FC236}">
                <a16:creationId xmlns:a16="http://schemas.microsoft.com/office/drawing/2014/main" id="{7CD3534F-3DFF-4EA6-8002-F1AA214E6993}"/>
              </a:ext>
            </a:extLst>
          </p:cNvPr>
          <p:cNvPicPr>
            <a:picLocks noGrp="1" noChangeAspect="1"/>
          </p:cNvPicPr>
          <p:nvPr>
            <p:ph type="pic" sz="quarter" idx="46"/>
          </p:nvPr>
        </p:nvPicPr>
        <p:blipFill rotWithShape="1">
          <a:blip r:embed="rId6" cstate="print">
            <a:extLst>
              <a:ext uri="{28A0092B-C50C-407E-A947-70E740481C1C}">
                <a14:useLocalDpi xmlns:a14="http://schemas.microsoft.com/office/drawing/2010/main"/>
              </a:ext>
            </a:extLst>
          </a:blip>
          <a:srcRect/>
          <a:stretch/>
        </p:blipFill>
        <p:spPr>
          <a:xfrm>
            <a:off x="8914444" y="1958340"/>
            <a:ext cx="1862578" cy="2751975"/>
          </a:xfrm>
        </p:spPr>
      </p:pic>
      <p:sp>
        <p:nvSpPr>
          <p:cNvPr id="6" name="Text Placeholder 5">
            <a:extLst>
              <a:ext uri="{FF2B5EF4-FFF2-40B4-BE49-F238E27FC236}">
                <a16:creationId xmlns:a16="http://schemas.microsoft.com/office/drawing/2014/main" id="{D5550BAF-093E-4195-BAAD-74C8F88B369F}"/>
              </a:ext>
            </a:extLst>
          </p:cNvPr>
          <p:cNvSpPr>
            <a:spLocks noGrp="1"/>
          </p:cNvSpPr>
          <p:nvPr>
            <p:ph type="body" sz="quarter" idx="47"/>
          </p:nvPr>
        </p:nvSpPr>
        <p:spPr>
          <a:xfrm>
            <a:off x="8914445" y="4800315"/>
            <a:ext cx="1862578" cy="152078"/>
          </a:xfrm>
        </p:spPr>
        <p:txBody>
          <a:bodyPr/>
          <a:lstStyle/>
          <a:p>
            <a:r>
              <a:rPr lang="en-GB" dirty="0"/>
              <a:t>Indiana Jones &amp; The Kingdom of the Crystal Skull</a:t>
            </a:r>
          </a:p>
          <a:p>
            <a:endParaRPr lang="en-GB" dirty="0"/>
          </a:p>
        </p:txBody>
      </p:sp>
      <p:pic>
        <p:nvPicPr>
          <p:cNvPr id="40" name="Picture Placeholder 39" descr="Text&#10;&#10;Description automatically generated">
            <a:extLst>
              <a:ext uri="{FF2B5EF4-FFF2-40B4-BE49-F238E27FC236}">
                <a16:creationId xmlns:a16="http://schemas.microsoft.com/office/drawing/2014/main" id="{A90F892B-1357-4CD1-8B7C-E55D5FCF3421}"/>
              </a:ext>
            </a:extLst>
          </p:cNvPr>
          <p:cNvPicPr>
            <a:picLocks noGrp="1" noChangeAspect="1"/>
          </p:cNvPicPr>
          <p:nvPr>
            <p:ph type="pic" sz="quarter" idx="49"/>
          </p:nvPr>
        </p:nvPicPr>
        <p:blipFill rotWithShape="1">
          <a:blip r:embed="rId7" cstate="print">
            <a:extLst>
              <a:ext uri="{28A0092B-C50C-407E-A947-70E740481C1C}">
                <a14:useLocalDpi xmlns:a14="http://schemas.microsoft.com/office/drawing/2010/main"/>
              </a:ext>
            </a:extLst>
          </a:blip>
          <a:srcRect/>
          <a:stretch/>
        </p:blipFill>
        <p:spPr>
          <a:xfrm>
            <a:off x="11017562" y="2884170"/>
            <a:ext cx="1862578" cy="2751975"/>
          </a:xfrm>
        </p:spPr>
      </p:pic>
      <p:sp>
        <p:nvSpPr>
          <p:cNvPr id="9" name="Text Placeholder 8">
            <a:extLst>
              <a:ext uri="{FF2B5EF4-FFF2-40B4-BE49-F238E27FC236}">
                <a16:creationId xmlns:a16="http://schemas.microsoft.com/office/drawing/2014/main" id="{96B0E3DF-A6AA-4A11-8ACB-02DDF8637A22}"/>
              </a:ext>
            </a:extLst>
          </p:cNvPr>
          <p:cNvSpPr>
            <a:spLocks noGrp="1"/>
          </p:cNvSpPr>
          <p:nvPr>
            <p:ph type="body" sz="quarter" idx="50"/>
          </p:nvPr>
        </p:nvSpPr>
        <p:spPr>
          <a:xfrm>
            <a:off x="11017563" y="5726145"/>
            <a:ext cx="1862578" cy="152078"/>
          </a:xfrm>
        </p:spPr>
        <p:txBody>
          <a:bodyPr/>
          <a:lstStyle/>
          <a:p>
            <a:r>
              <a:rPr lang="en-GB" dirty="0"/>
              <a:t>Sex And The City</a:t>
            </a:r>
          </a:p>
          <a:p>
            <a:endParaRPr lang="en-GB" dirty="0"/>
          </a:p>
        </p:txBody>
      </p:sp>
      <p:sp>
        <p:nvSpPr>
          <p:cNvPr id="12" name="Text Placeholder 11">
            <a:extLst>
              <a:ext uri="{FF2B5EF4-FFF2-40B4-BE49-F238E27FC236}">
                <a16:creationId xmlns:a16="http://schemas.microsoft.com/office/drawing/2014/main" id="{855BFE89-245E-4C98-B2C6-09861097BD0C}"/>
              </a:ext>
            </a:extLst>
          </p:cNvPr>
          <p:cNvSpPr>
            <a:spLocks noGrp="1"/>
          </p:cNvSpPr>
          <p:nvPr>
            <p:ph type="body" sz="quarter" idx="27"/>
          </p:nvPr>
        </p:nvSpPr>
        <p:spPr>
          <a:xfrm>
            <a:off x="270623" y="651956"/>
            <a:ext cx="12502401" cy="436608"/>
          </a:xfrm>
        </p:spPr>
        <p:txBody>
          <a:bodyPr/>
          <a:lstStyle/>
          <a:p>
            <a:r>
              <a:rPr lang="en-GB" dirty="0"/>
              <a:t>Mamma Mia! opened in summer 2008 and became the biggest film of all time at the UK box office (overtaking Titanic), with many other blockbusters also achieving great results and posting over £25m+ at the UK box office </a:t>
            </a:r>
          </a:p>
        </p:txBody>
      </p:sp>
      <p:sp>
        <p:nvSpPr>
          <p:cNvPr id="2" name="TextBox 1">
            <a:extLst>
              <a:ext uri="{FF2B5EF4-FFF2-40B4-BE49-F238E27FC236}">
                <a16:creationId xmlns:a16="http://schemas.microsoft.com/office/drawing/2014/main" id="{4724269E-A1EF-4522-9422-003793C17C1E}"/>
              </a:ext>
            </a:extLst>
          </p:cNvPr>
          <p:cNvSpPr txBox="1"/>
          <p:nvPr/>
        </p:nvSpPr>
        <p:spPr>
          <a:xfrm>
            <a:off x="2544019" y="1470022"/>
            <a:ext cx="7865304" cy="307777"/>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sng" strike="noStrike" kern="1200" cap="none" spc="0" normalizeH="0" baseline="0" noProof="0" dirty="0">
                <a:ln>
                  <a:noFill/>
                </a:ln>
                <a:solidFill>
                  <a:srgbClr val="8A8A8D"/>
                </a:solidFill>
                <a:effectLst/>
                <a:uLnTx/>
                <a:uFillTx/>
                <a:latin typeface="Arial"/>
                <a:ea typeface="+mn-ea"/>
                <a:cs typeface="+mn-cs"/>
              </a:rPr>
              <a:t>Top films at the UK box office during the last recession</a:t>
            </a:r>
          </a:p>
        </p:txBody>
      </p:sp>
      <p:sp>
        <p:nvSpPr>
          <p:cNvPr id="20" name="Text Placeholder 19">
            <a:extLst>
              <a:ext uri="{FF2B5EF4-FFF2-40B4-BE49-F238E27FC236}">
                <a16:creationId xmlns:a16="http://schemas.microsoft.com/office/drawing/2014/main" id="{A94F14E9-8BA6-4CD3-A40E-34463E7D8DA9}"/>
              </a:ext>
            </a:extLst>
          </p:cNvPr>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800748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51314A-3C88-43D1-ABBC-B774A7615200}"/>
              </a:ext>
            </a:extLst>
          </p:cNvPr>
          <p:cNvSpPr>
            <a:spLocks noGrp="1"/>
          </p:cNvSpPr>
          <p:nvPr>
            <p:ph type="title"/>
          </p:nvPr>
        </p:nvSpPr>
        <p:spPr/>
        <p:txBody>
          <a:bodyPr/>
          <a:lstStyle/>
          <a:p>
            <a:r>
              <a:rPr lang="en-GB" dirty="0"/>
              <a:t>THE EXPERIENCE &amp; COMPELLING STORIES ENSURE CINEMA STANDS THE TEST OF TIME</a:t>
            </a:r>
          </a:p>
        </p:txBody>
      </p:sp>
      <p:sp>
        <p:nvSpPr>
          <p:cNvPr id="3" name="Text Placeholder 2">
            <a:extLst>
              <a:ext uri="{FF2B5EF4-FFF2-40B4-BE49-F238E27FC236}">
                <a16:creationId xmlns:a16="http://schemas.microsoft.com/office/drawing/2014/main" id="{6B66A4A6-D7C6-41D9-ABDA-3E10CA4B4CC0}"/>
              </a:ext>
            </a:extLst>
          </p:cNvPr>
          <p:cNvSpPr>
            <a:spLocks noGrp="1"/>
          </p:cNvSpPr>
          <p:nvPr>
            <p:ph type="body" sz="quarter" idx="11"/>
          </p:nvPr>
        </p:nvSpPr>
        <p:spPr>
          <a:xfrm>
            <a:off x="10196558" y="7209450"/>
            <a:ext cx="3116099" cy="206082"/>
          </a:xfrm>
        </p:spPr>
        <p:txBody>
          <a:bodyPr/>
          <a:lstStyle/>
          <a:p>
            <a:r>
              <a:rPr lang="en-US" dirty="0"/>
              <a:t>Source: Comscore. 2024: DCM Forecast</a:t>
            </a:r>
            <a:endParaRPr lang="en-GB" dirty="0"/>
          </a:p>
        </p:txBody>
      </p:sp>
      <p:graphicFrame>
        <p:nvGraphicFramePr>
          <p:cNvPr id="10" name="Object 1">
            <a:extLst>
              <a:ext uri="{FF2B5EF4-FFF2-40B4-BE49-F238E27FC236}">
                <a16:creationId xmlns:a16="http://schemas.microsoft.com/office/drawing/2014/main" id="{1B77FD2F-7135-42DF-8B37-2E7CCBD14BC7}"/>
              </a:ext>
            </a:extLst>
          </p:cNvPr>
          <p:cNvGraphicFramePr>
            <a:graphicFrameLocks noChangeAspect="1"/>
          </p:cNvGraphicFramePr>
          <p:nvPr/>
        </p:nvGraphicFramePr>
        <p:xfrm>
          <a:off x="72857" y="882515"/>
          <a:ext cx="12807654" cy="649152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25">
            <a:extLst>
              <a:ext uri="{FF2B5EF4-FFF2-40B4-BE49-F238E27FC236}">
                <a16:creationId xmlns:a16="http://schemas.microsoft.com/office/drawing/2014/main" id="{10280B09-E776-4F42-AC0D-1BBE873C4D2E}"/>
              </a:ext>
            </a:extLst>
          </p:cNvPr>
          <p:cNvSpPr txBox="1">
            <a:spLocks/>
          </p:cNvSpPr>
          <p:nvPr/>
        </p:nvSpPr>
        <p:spPr>
          <a:xfrm>
            <a:off x="177746" y="603952"/>
            <a:ext cx="12423088" cy="436585"/>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961706">
              <a:defRPr/>
            </a:pPr>
            <a:r>
              <a:rPr lang="en-US" sz="1400" dirty="0">
                <a:solidFill>
                  <a:srgbClr val="8A8A8D"/>
                </a:solidFill>
                <a:latin typeface="Arial"/>
              </a:rPr>
              <a:t>During the last recession cinema admissions increased YOY and we expect to see continued growth into 2024</a:t>
            </a:r>
            <a:endParaRPr lang="en-GB" sz="1400" dirty="0">
              <a:solidFill>
                <a:srgbClr val="8A8A8D"/>
              </a:solidFill>
              <a:latin typeface="Arial"/>
            </a:endParaRPr>
          </a:p>
        </p:txBody>
      </p:sp>
      <p:sp>
        <p:nvSpPr>
          <p:cNvPr id="2" name="TextBox 1">
            <a:extLst>
              <a:ext uri="{FF2B5EF4-FFF2-40B4-BE49-F238E27FC236}">
                <a16:creationId xmlns:a16="http://schemas.microsoft.com/office/drawing/2014/main" id="{80019222-C37F-4420-9451-4B95FB939670}"/>
              </a:ext>
            </a:extLst>
          </p:cNvPr>
          <p:cNvSpPr txBox="1"/>
          <p:nvPr/>
        </p:nvSpPr>
        <p:spPr>
          <a:xfrm>
            <a:off x="4586590" y="1588962"/>
            <a:ext cx="495301" cy="276999"/>
          </a:xfrm>
          <a:prstGeom prst="rect">
            <a:avLst/>
          </a:prstGeom>
          <a:noFill/>
          <a:ln>
            <a:noFill/>
          </a:ln>
        </p:spPr>
        <p:txBody>
          <a:bodyPr wrap="square" rtlCol="0">
            <a:spAutoFit/>
          </a:bodyPr>
          <a:lstStyle/>
          <a:p>
            <a:r>
              <a:rPr lang="en-GB" sz="1200" b="1" dirty="0"/>
              <a:t>+7%</a:t>
            </a:r>
          </a:p>
        </p:txBody>
      </p:sp>
      <p:cxnSp>
        <p:nvCxnSpPr>
          <p:cNvPr id="7" name="Straight Arrow Connector 6">
            <a:extLst>
              <a:ext uri="{FF2B5EF4-FFF2-40B4-BE49-F238E27FC236}">
                <a16:creationId xmlns:a16="http://schemas.microsoft.com/office/drawing/2014/main" id="{C034327B-7411-48C4-94CC-8B2860442667}"/>
              </a:ext>
            </a:extLst>
          </p:cNvPr>
          <p:cNvCxnSpPr>
            <a:cxnSpLocks/>
          </p:cNvCxnSpPr>
          <p:nvPr/>
        </p:nvCxnSpPr>
        <p:spPr>
          <a:xfrm flipV="1">
            <a:off x="4719941" y="1885139"/>
            <a:ext cx="209550" cy="13335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ADE959C8-BAA6-48F0-A77F-B0BD25F9AACA}"/>
              </a:ext>
            </a:extLst>
          </p:cNvPr>
          <p:cNvSpPr/>
          <p:nvPr/>
        </p:nvSpPr>
        <p:spPr>
          <a:xfrm>
            <a:off x="4339949" y="1485901"/>
            <a:ext cx="1123950" cy="5192848"/>
          </a:xfrm>
          <a:prstGeom prst="rect">
            <a:avLst/>
          </a:prstGeom>
          <a:noFill/>
          <a:ln>
            <a:solidFill>
              <a:schemeClr val="tx1"/>
            </a:solidFill>
            <a:prstDash val="dash"/>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Tree>
    <p:extLst>
      <p:ext uri="{BB962C8B-B14F-4D97-AF65-F5344CB8AC3E}">
        <p14:creationId xmlns:p14="http://schemas.microsoft.com/office/powerpoint/2010/main" val="307993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51571-C0DE-4FDB-A1CC-326098BB9FBD}"/>
              </a:ext>
            </a:extLst>
          </p:cNvPr>
          <p:cNvSpPr>
            <a:spLocks noGrp="1"/>
          </p:cNvSpPr>
          <p:nvPr>
            <p:ph type="title"/>
          </p:nvPr>
        </p:nvSpPr>
        <p:spPr/>
        <p:txBody>
          <a:bodyPr/>
          <a:lstStyle/>
          <a:p>
            <a:r>
              <a:rPr lang="en-GB" dirty="0"/>
              <a:t>CINEMA ADVERTISING GREW ACROSS THE RECESSION VS. A DECLINING MARKET</a:t>
            </a:r>
          </a:p>
        </p:txBody>
      </p:sp>
      <p:sp>
        <p:nvSpPr>
          <p:cNvPr id="6" name="Text Placeholder 5">
            <a:extLst>
              <a:ext uri="{FF2B5EF4-FFF2-40B4-BE49-F238E27FC236}">
                <a16:creationId xmlns:a16="http://schemas.microsoft.com/office/drawing/2014/main" id="{F36790E0-EBFC-40BE-8508-58CDC0E64BC6}"/>
              </a:ext>
            </a:extLst>
          </p:cNvPr>
          <p:cNvSpPr>
            <a:spLocks noGrp="1"/>
          </p:cNvSpPr>
          <p:nvPr>
            <p:ph type="body" sz="quarter" idx="11"/>
          </p:nvPr>
        </p:nvSpPr>
        <p:spPr>
          <a:xfrm>
            <a:off x="9601200" y="7189565"/>
            <a:ext cx="3697289" cy="246221"/>
          </a:xfrm>
        </p:spPr>
        <p:txBody>
          <a:bodyPr/>
          <a:lstStyle/>
          <a:p>
            <a:r>
              <a:rPr lang="en-GB" dirty="0"/>
              <a:t>Source: WARC Expenditure Report. Full year 2009 vs 2007 revenue.</a:t>
            </a:r>
          </a:p>
        </p:txBody>
      </p:sp>
      <p:sp>
        <p:nvSpPr>
          <p:cNvPr id="7" name="Text Placeholder 6">
            <a:extLst>
              <a:ext uri="{FF2B5EF4-FFF2-40B4-BE49-F238E27FC236}">
                <a16:creationId xmlns:a16="http://schemas.microsoft.com/office/drawing/2014/main" id="{79BAEE9A-8582-4060-A7F7-D345E5E5E43C}"/>
              </a:ext>
            </a:extLst>
          </p:cNvPr>
          <p:cNvSpPr>
            <a:spLocks noGrp="1"/>
          </p:cNvSpPr>
          <p:nvPr>
            <p:ph type="body" sz="quarter" idx="14"/>
          </p:nvPr>
        </p:nvSpPr>
        <p:spPr>
          <a:xfrm>
            <a:off x="175407" y="620644"/>
            <a:ext cx="12423740" cy="436608"/>
          </a:xfrm>
        </p:spPr>
        <p:txBody>
          <a:bodyPr/>
          <a:lstStyle/>
          <a:p>
            <a:r>
              <a:rPr lang="en-GB" dirty="0"/>
              <a:t>Comparing to 2007 revenues to 2009, cinema revenues across the recession increased by 6%  - the only channel alongside internet display to see growth against the backdrop of a declining ad market. </a:t>
            </a:r>
          </a:p>
        </p:txBody>
      </p:sp>
      <p:graphicFrame>
        <p:nvGraphicFramePr>
          <p:cNvPr id="10" name="Chart 9">
            <a:extLst>
              <a:ext uri="{FF2B5EF4-FFF2-40B4-BE49-F238E27FC236}">
                <a16:creationId xmlns:a16="http://schemas.microsoft.com/office/drawing/2014/main" id="{3655F09D-B14A-4355-B799-114E17716491}"/>
              </a:ext>
            </a:extLst>
          </p:cNvPr>
          <p:cNvGraphicFramePr/>
          <p:nvPr/>
        </p:nvGraphicFramePr>
        <p:xfrm>
          <a:off x="280398" y="1277064"/>
          <a:ext cx="12413342" cy="536777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04195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5EDDDFE-3B7E-4B5C-A03C-8C3AC9398F4B}"/>
              </a:ext>
            </a:extLst>
          </p:cNvPr>
          <p:cNvSpPr>
            <a:spLocks noGrp="1"/>
          </p:cNvSpPr>
          <p:nvPr>
            <p:ph type="title"/>
          </p:nvPr>
        </p:nvSpPr>
        <p:spPr/>
        <p:txBody>
          <a:bodyPr/>
          <a:lstStyle/>
          <a:p>
            <a:r>
              <a:rPr lang="en-GB" dirty="0"/>
              <a:t>THE FILM SLATE LOOKS STRONG ACROSS 2024</a:t>
            </a:r>
          </a:p>
        </p:txBody>
      </p:sp>
      <p:sp>
        <p:nvSpPr>
          <p:cNvPr id="22" name="Text Placeholder 21">
            <a:extLst>
              <a:ext uri="{FF2B5EF4-FFF2-40B4-BE49-F238E27FC236}">
                <a16:creationId xmlns:a16="http://schemas.microsoft.com/office/drawing/2014/main" id="{7187BF24-7962-4290-BEF0-0517D60A6AAB}"/>
              </a:ext>
            </a:extLst>
          </p:cNvPr>
          <p:cNvSpPr>
            <a:spLocks noGrp="1"/>
          </p:cNvSpPr>
          <p:nvPr>
            <p:ph type="body" sz="quarter" idx="44"/>
          </p:nvPr>
        </p:nvSpPr>
        <p:spPr>
          <a:xfrm>
            <a:off x="1637307" y="6492412"/>
            <a:ext cx="1588595" cy="266284"/>
          </a:xfrm>
        </p:spPr>
        <p:txBody>
          <a:bodyPr/>
          <a:lstStyle/>
          <a:p>
            <a:r>
              <a:rPr lang="en-GB" dirty="0"/>
              <a:t>Deadpool 3</a:t>
            </a:r>
          </a:p>
        </p:txBody>
      </p:sp>
      <p:sp>
        <p:nvSpPr>
          <p:cNvPr id="15" name="Text Placeholder 14">
            <a:extLst>
              <a:ext uri="{FF2B5EF4-FFF2-40B4-BE49-F238E27FC236}">
                <a16:creationId xmlns:a16="http://schemas.microsoft.com/office/drawing/2014/main" id="{12E8CD1A-CFB6-49C9-8C42-BFA2A7A36F8A}"/>
              </a:ext>
            </a:extLst>
          </p:cNvPr>
          <p:cNvSpPr>
            <a:spLocks noGrp="1"/>
          </p:cNvSpPr>
          <p:nvPr>
            <p:ph type="body" sz="quarter" idx="27"/>
          </p:nvPr>
        </p:nvSpPr>
        <p:spPr>
          <a:xfrm>
            <a:off x="270624" y="651956"/>
            <a:ext cx="11273676" cy="436608"/>
          </a:xfrm>
        </p:spPr>
        <p:txBody>
          <a:bodyPr/>
          <a:lstStyle/>
          <a:p>
            <a:r>
              <a:rPr lang="en-GB" dirty="0"/>
              <a:t>The film slate for the coming year is stacked with huge blockbusters that will continue to draw audiences in </a:t>
            </a:r>
          </a:p>
        </p:txBody>
      </p:sp>
      <p:sp>
        <p:nvSpPr>
          <p:cNvPr id="23" name="Text Placeholder 22">
            <a:extLst>
              <a:ext uri="{FF2B5EF4-FFF2-40B4-BE49-F238E27FC236}">
                <a16:creationId xmlns:a16="http://schemas.microsoft.com/office/drawing/2014/main" id="{DD719BEB-223E-4BD4-A536-1C0715F8A856}"/>
              </a:ext>
            </a:extLst>
          </p:cNvPr>
          <p:cNvSpPr>
            <a:spLocks noGrp="1"/>
          </p:cNvSpPr>
          <p:nvPr>
            <p:ph type="body" sz="quarter" idx="52"/>
          </p:nvPr>
        </p:nvSpPr>
        <p:spPr>
          <a:xfrm>
            <a:off x="1647762" y="3606137"/>
            <a:ext cx="1588595" cy="266284"/>
          </a:xfrm>
        </p:spPr>
        <p:txBody>
          <a:bodyPr/>
          <a:lstStyle/>
          <a:p>
            <a:r>
              <a:rPr lang="en-GB" dirty="0"/>
              <a:t>Dune Part II</a:t>
            </a:r>
          </a:p>
        </p:txBody>
      </p:sp>
      <p:sp>
        <p:nvSpPr>
          <p:cNvPr id="24" name="Text Placeholder 23">
            <a:extLst>
              <a:ext uri="{FF2B5EF4-FFF2-40B4-BE49-F238E27FC236}">
                <a16:creationId xmlns:a16="http://schemas.microsoft.com/office/drawing/2014/main" id="{96ED8F24-2B66-431D-890A-271AC2BAF38E}"/>
              </a:ext>
            </a:extLst>
          </p:cNvPr>
          <p:cNvSpPr>
            <a:spLocks noGrp="1"/>
          </p:cNvSpPr>
          <p:nvPr>
            <p:ph type="body" sz="quarter" idx="53"/>
          </p:nvPr>
        </p:nvSpPr>
        <p:spPr>
          <a:xfrm>
            <a:off x="3750881" y="3606137"/>
            <a:ext cx="1588595" cy="266284"/>
          </a:xfrm>
        </p:spPr>
        <p:txBody>
          <a:bodyPr/>
          <a:lstStyle/>
          <a:p>
            <a:r>
              <a:rPr lang="en-GB" dirty="0"/>
              <a:t>Back To Black</a:t>
            </a:r>
          </a:p>
        </p:txBody>
      </p:sp>
      <p:sp>
        <p:nvSpPr>
          <p:cNvPr id="25" name="Text Placeholder 24">
            <a:extLst>
              <a:ext uri="{FF2B5EF4-FFF2-40B4-BE49-F238E27FC236}">
                <a16:creationId xmlns:a16="http://schemas.microsoft.com/office/drawing/2014/main" id="{10B47A4F-3605-46C2-B271-3D64F23055BF}"/>
              </a:ext>
            </a:extLst>
          </p:cNvPr>
          <p:cNvSpPr>
            <a:spLocks noGrp="1"/>
          </p:cNvSpPr>
          <p:nvPr>
            <p:ph type="body" sz="quarter" idx="54"/>
          </p:nvPr>
        </p:nvSpPr>
        <p:spPr>
          <a:xfrm>
            <a:off x="5854000" y="3606137"/>
            <a:ext cx="1588595" cy="266284"/>
          </a:xfrm>
        </p:spPr>
        <p:txBody>
          <a:bodyPr/>
          <a:lstStyle/>
          <a:p>
            <a:r>
              <a:rPr lang="en-GB" dirty="0"/>
              <a:t>The Fall Guy</a:t>
            </a:r>
          </a:p>
        </p:txBody>
      </p:sp>
      <p:sp>
        <p:nvSpPr>
          <p:cNvPr id="26" name="Text Placeholder 25">
            <a:extLst>
              <a:ext uri="{FF2B5EF4-FFF2-40B4-BE49-F238E27FC236}">
                <a16:creationId xmlns:a16="http://schemas.microsoft.com/office/drawing/2014/main" id="{AA665DF5-188A-4401-8384-A290D173B6EF}"/>
              </a:ext>
            </a:extLst>
          </p:cNvPr>
          <p:cNvSpPr>
            <a:spLocks noGrp="1"/>
          </p:cNvSpPr>
          <p:nvPr>
            <p:ph type="body" sz="quarter" idx="55"/>
          </p:nvPr>
        </p:nvSpPr>
        <p:spPr>
          <a:xfrm>
            <a:off x="9955705" y="6496650"/>
            <a:ext cx="1588595" cy="266284"/>
          </a:xfrm>
        </p:spPr>
        <p:txBody>
          <a:bodyPr/>
          <a:lstStyle/>
          <a:p>
            <a:r>
              <a:rPr lang="en-GB" dirty="0"/>
              <a:t>Wicked </a:t>
            </a:r>
          </a:p>
        </p:txBody>
      </p:sp>
      <p:sp>
        <p:nvSpPr>
          <p:cNvPr id="27" name="Text Placeholder 26">
            <a:extLst>
              <a:ext uri="{FF2B5EF4-FFF2-40B4-BE49-F238E27FC236}">
                <a16:creationId xmlns:a16="http://schemas.microsoft.com/office/drawing/2014/main" id="{E7A0CA50-BB63-4805-A1E3-C105E08D56EE}"/>
              </a:ext>
            </a:extLst>
          </p:cNvPr>
          <p:cNvSpPr>
            <a:spLocks noGrp="1"/>
          </p:cNvSpPr>
          <p:nvPr>
            <p:ph type="body" sz="quarter" idx="56"/>
          </p:nvPr>
        </p:nvSpPr>
        <p:spPr>
          <a:xfrm>
            <a:off x="7910080" y="3624011"/>
            <a:ext cx="1588595" cy="266284"/>
          </a:xfrm>
        </p:spPr>
        <p:txBody>
          <a:bodyPr/>
          <a:lstStyle/>
          <a:p>
            <a:r>
              <a:rPr lang="en-GB" dirty="0"/>
              <a:t>Furiosa: A Mad Max Saga</a:t>
            </a:r>
          </a:p>
        </p:txBody>
      </p:sp>
      <p:sp>
        <p:nvSpPr>
          <p:cNvPr id="28" name="Text Placeholder 27">
            <a:extLst>
              <a:ext uri="{FF2B5EF4-FFF2-40B4-BE49-F238E27FC236}">
                <a16:creationId xmlns:a16="http://schemas.microsoft.com/office/drawing/2014/main" id="{22200F6E-A508-4BB4-AEE6-2A753210B8C9}"/>
              </a:ext>
            </a:extLst>
          </p:cNvPr>
          <p:cNvSpPr>
            <a:spLocks noGrp="1"/>
          </p:cNvSpPr>
          <p:nvPr>
            <p:ph type="body" sz="quarter" idx="57"/>
          </p:nvPr>
        </p:nvSpPr>
        <p:spPr>
          <a:xfrm>
            <a:off x="9945250" y="3624011"/>
            <a:ext cx="1588595" cy="266284"/>
          </a:xfrm>
        </p:spPr>
        <p:txBody>
          <a:bodyPr/>
          <a:lstStyle/>
          <a:p>
            <a:r>
              <a:rPr lang="en-GB" dirty="0"/>
              <a:t>Inside Out 2</a:t>
            </a:r>
          </a:p>
        </p:txBody>
      </p:sp>
      <p:sp>
        <p:nvSpPr>
          <p:cNvPr id="29" name="Text Placeholder 28">
            <a:extLst>
              <a:ext uri="{FF2B5EF4-FFF2-40B4-BE49-F238E27FC236}">
                <a16:creationId xmlns:a16="http://schemas.microsoft.com/office/drawing/2014/main" id="{D0F63C69-34F6-4A90-9F4E-8A9325D4B22E}"/>
              </a:ext>
            </a:extLst>
          </p:cNvPr>
          <p:cNvSpPr>
            <a:spLocks noGrp="1"/>
          </p:cNvSpPr>
          <p:nvPr>
            <p:ph type="body" sz="quarter" idx="58"/>
          </p:nvPr>
        </p:nvSpPr>
        <p:spPr>
          <a:xfrm>
            <a:off x="3750881" y="6486825"/>
            <a:ext cx="1588595" cy="266284"/>
          </a:xfrm>
        </p:spPr>
        <p:txBody>
          <a:bodyPr/>
          <a:lstStyle/>
          <a:p>
            <a:r>
              <a:rPr lang="en-GB" dirty="0"/>
              <a:t>Joker: Folie A Deux</a:t>
            </a:r>
          </a:p>
        </p:txBody>
      </p:sp>
      <p:sp>
        <p:nvSpPr>
          <p:cNvPr id="30" name="Text Placeholder 29">
            <a:extLst>
              <a:ext uri="{FF2B5EF4-FFF2-40B4-BE49-F238E27FC236}">
                <a16:creationId xmlns:a16="http://schemas.microsoft.com/office/drawing/2014/main" id="{F94D7A44-FC38-4C1C-BBF7-DC241B0E3BE7}"/>
              </a:ext>
            </a:extLst>
          </p:cNvPr>
          <p:cNvSpPr>
            <a:spLocks noGrp="1"/>
          </p:cNvSpPr>
          <p:nvPr>
            <p:ph type="body" sz="quarter" idx="59"/>
          </p:nvPr>
        </p:nvSpPr>
        <p:spPr>
          <a:xfrm>
            <a:off x="5854000" y="6486825"/>
            <a:ext cx="1588595" cy="266284"/>
          </a:xfrm>
        </p:spPr>
        <p:txBody>
          <a:bodyPr/>
          <a:lstStyle/>
          <a:p>
            <a:r>
              <a:rPr lang="en-GB" dirty="0"/>
              <a:t>Paddington In Peru</a:t>
            </a:r>
          </a:p>
        </p:txBody>
      </p:sp>
      <p:sp>
        <p:nvSpPr>
          <p:cNvPr id="2" name="Text Placeholder 1">
            <a:extLst>
              <a:ext uri="{FF2B5EF4-FFF2-40B4-BE49-F238E27FC236}">
                <a16:creationId xmlns:a16="http://schemas.microsoft.com/office/drawing/2014/main" id="{0FCC1D6A-028A-40E4-81B3-3E8C9D702AC5}"/>
              </a:ext>
            </a:extLst>
          </p:cNvPr>
          <p:cNvSpPr>
            <a:spLocks noGrp="1"/>
          </p:cNvSpPr>
          <p:nvPr>
            <p:ph type="body" sz="quarter" idx="60"/>
          </p:nvPr>
        </p:nvSpPr>
        <p:spPr>
          <a:xfrm>
            <a:off x="7967574" y="6486825"/>
            <a:ext cx="1588595" cy="266284"/>
          </a:xfrm>
        </p:spPr>
        <p:txBody>
          <a:bodyPr/>
          <a:lstStyle/>
          <a:p>
            <a:r>
              <a:rPr lang="en-GB" dirty="0"/>
              <a:t>Gladiator Sequel (Untitled)</a:t>
            </a:r>
          </a:p>
        </p:txBody>
      </p:sp>
      <p:pic>
        <p:nvPicPr>
          <p:cNvPr id="42" name="Picture Placeholder 41" descr="A group of people standing on a rock&#10;&#10;Description automatically generated">
            <a:extLst>
              <a:ext uri="{FF2B5EF4-FFF2-40B4-BE49-F238E27FC236}">
                <a16:creationId xmlns:a16="http://schemas.microsoft.com/office/drawing/2014/main" id="{CB125AD1-FAA7-4B9C-BE16-50490A40C49E}"/>
              </a:ext>
            </a:extLst>
          </p:cNvPr>
          <p:cNvPicPr>
            <a:picLocks noGrp="1" noChangeAspect="1"/>
          </p:cNvPicPr>
          <p:nvPr>
            <p:ph type="pic" sz="quarter" idx="37"/>
          </p:nvPr>
        </p:nvPicPr>
        <p:blipFill>
          <a:blip r:embed="rId2" cstate="hqprint">
            <a:extLst>
              <a:ext uri="{28A0092B-C50C-407E-A947-70E740481C1C}">
                <a14:useLocalDpi xmlns:a14="http://schemas.microsoft.com/office/drawing/2010/main"/>
              </a:ext>
            </a:extLst>
          </a:blip>
          <a:srcRect/>
          <a:stretch>
            <a:fillRect/>
          </a:stretch>
        </p:blipFill>
        <p:spPr>
          <a:xfrm>
            <a:off x="1625600" y="1166813"/>
            <a:ext cx="1598613" cy="2362200"/>
          </a:xfrm>
        </p:spPr>
      </p:pic>
      <p:pic>
        <p:nvPicPr>
          <p:cNvPr id="49" name="Picture Placeholder 48" descr="A movie cover with a person on a machine&#10;&#10;Description automatically generated">
            <a:extLst>
              <a:ext uri="{FF2B5EF4-FFF2-40B4-BE49-F238E27FC236}">
                <a16:creationId xmlns:a16="http://schemas.microsoft.com/office/drawing/2014/main" id="{70C759DC-1423-4944-AA40-D22994DA140B}"/>
              </a:ext>
            </a:extLst>
          </p:cNvPr>
          <p:cNvPicPr>
            <a:picLocks noGrp="1" noChangeAspect="1"/>
          </p:cNvPicPr>
          <p:nvPr>
            <p:ph type="pic" sz="quarter" idx="40"/>
          </p:nvPr>
        </p:nvPicPr>
        <p:blipFill>
          <a:blip r:embed="rId3" cstate="hqprint">
            <a:extLst>
              <a:ext uri="{28A0092B-C50C-407E-A947-70E740481C1C}">
                <a14:useLocalDpi xmlns:a14="http://schemas.microsoft.com/office/drawing/2010/main"/>
              </a:ext>
            </a:extLst>
          </a:blip>
          <a:srcRect/>
          <a:stretch>
            <a:fillRect/>
          </a:stretch>
        </p:blipFill>
        <p:spPr>
          <a:xfrm>
            <a:off x="5832475" y="1173163"/>
            <a:ext cx="1598613" cy="2362200"/>
          </a:xfrm>
        </p:spPr>
      </p:pic>
      <p:pic>
        <p:nvPicPr>
          <p:cNvPr id="51" name="Picture Placeholder 50" descr="A movie cover with a person standing in front of a musical instrument&#10;&#10;Description automatically generated">
            <a:extLst>
              <a:ext uri="{FF2B5EF4-FFF2-40B4-BE49-F238E27FC236}">
                <a16:creationId xmlns:a16="http://schemas.microsoft.com/office/drawing/2014/main" id="{DDA1E440-D46D-4DE0-AD78-0D73B0019E4A}"/>
              </a:ext>
            </a:extLst>
          </p:cNvPr>
          <p:cNvPicPr>
            <a:picLocks noGrp="1" noChangeAspect="1"/>
          </p:cNvPicPr>
          <p:nvPr>
            <p:ph type="pic" sz="quarter" idx="43"/>
          </p:nvPr>
        </p:nvPicPr>
        <p:blipFill>
          <a:blip r:embed="rId4" cstate="hqprint">
            <a:extLst>
              <a:ext uri="{28A0092B-C50C-407E-A947-70E740481C1C}">
                <a14:useLocalDpi xmlns:a14="http://schemas.microsoft.com/office/drawing/2010/main"/>
              </a:ext>
            </a:extLst>
          </a:blip>
          <a:srcRect/>
          <a:stretch>
            <a:fillRect/>
          </a:stretch>
        </p:blipFill>
        <p:spPr>
          <a:xfrm>
            <a:off x="7886700" y="1181100"/>
            <a:ext cx="1598613" cy="2362200"/>
          </a:xfrm>
        </p:spPr>
      </p:pic>
      <p:pic>
        <p:nvPicPr>
          <p:cNvPr id="46" name="Picture Placeholder 45" descr="A person singing into a microphone&#10;&#10;Description automatically generated">
            <a:extLst>
              <a:ext uri="{FF2B5EF4-FFF2-40B4-BE49-F238E27FC236}">
                <a16:creationId xmlns:a16="http://schemas.microsoft.com/office/drawing/2014/main" id="{B274B3D5-3EA2-467A-AD89-A416218C9B81}"/>
              </a:ext>
            </a:extLst>
          </p:cNvPr>
          <p:cNvPicPr>
            <a:picLocks noGrp="1" noChangeAspect="1"/>
          </p:cNvPicPr>
          <p:nvPr>
            <p:ph type="pic" sz="quarter" idx="47"/>
          </p:nvPr>
        </p:nvPicPr>
        <p:blipFill>
          <a:blip r:embed="rId5" cstate="hqprint">
            <a:extLst>
              <a:ext uri="{28A0092B-C50C-407E-A947-70E740481C1C}">
                <a14:useLocalDpi xmlns:a14="http://schemas.microsoft.com/office/drawing/2010/main"/>
              </a:ext>
            </a:extLst>
          </a:blip>
          <a:srcRect/>
          <a:stretch>
            <a:fillRect/>
          </a:stretch>
        </p:blipFill>
        <p:spPr>
          <a:xfrm>
            <a:off x="3729038" y="1181100"/>
            <a:ext cx="1598612" cy="2362200"/>
          </a:xfrm>
        </p:spPr>
      </p:pic>
      <p:pic>
        <p:nvPicPr>
          <p:cNvPr id="53" name="Picture Placeholder 52" descr="A group of cartoon characters&#10;&#10;Description automatically generated">
            <a:extLst>
              <a:ext uri="{FF2B5EF4-FFF2-40B4-BE49-F238E27FC236}">
                <a16:creationId xmlns:a16="http://schemas.microsoft.com/office/drawing/2014/main" id="{DC307F58-BACC-4B52-B736-ECF9ACDF08F6}"/>
              </a:ext>
            </a:extLst>
          </p:cNvPr>
          <p:cNvPicPr>
            <a:picLocks noGrp="1" noChangeAspect="1"/>
          </p:cNvPicPr>
          <p:nvPr>
            <p:ph type="pic" sz="quarter" idx="48"/>
          </p:nvPr>
        </p:nvPicPr>
        <p:blipFill>
          <a:blip r:embed="rId6" cstate="hqprint">
            <a:extLst>
              <a:ext uri="{28A0092B-C50C-407E-A947-70E740481C1C}">
                <a14:useLocalDpi xmlns:a14="http://schemas.microsoft.com/office/drawing/2010/main"/>
              </a:ext>
            </a:extLst>
          </a:blip>
          <a:srcRect/>
          <a:stretch>
            <a:fillRect/>
          </a:stretch>
        </p:blipFill>
        <p:spPr>
          <a:xfrm>
            <a:off x="9934575" y="1173163"/>
            <a:ext cx="1598613" cy="2362200"/>
          </a:xfrm>
        </p:spPr>
      </p:pic>
      <p:pic>
        <p:nvPicPr>
          <p:cNvPr id="55" name="Picture Placeholder 54" descr="A red and black logo with claws&#10;&#10;Description automatically generated">
            <a:extLst>
              <a:ext uri="{FF2B5EF4-FFF2-40B4-BE49-F238E27FC236}">
                <a16:creationId xmlns:a16="http://schemas.microsoft.com/office/drawing/2014/main" id="{D74FAC55-8745-47B6-9248-4E88F37BBC1E}"/>
              </a:ext>
            </a:extLst>
          </p:cNvPr>
          <p:cNvPicPr>
            <a:picLocks noGrp="1" noChangeAspect="1"/>
          </p:cNvPicPr>
          <p:nvPr>
            <p:ph type="pic" sz="quarter" idx="34"/>
          </p:nvPr>
        </p:nvPicPr>
        <p:blipFill>
          <a:blip r:embed="rId7" cstate="hqprint">
            <a:extLst>
              <a:ext uri="{28A0092B-C50C-407E-A947-70E740481C1C}">
                <a14:useLocalDpi xmlns:a14="http://schemas.microsoft.com/office/drawing/2010/main"/>
              </a:ext>
            </a:extLst>
          </a:blip>
          <a:srcRect/>
          <a:stretch>
            <a:fillRect/>
          </a:stretch>
        </p:blipFill>
        <p:spPr>
          <a:xfrm>
            <a:off x="1636713" y="4027488"/>
            <a:ext cx="1600200" cy="2362200"/>
          </a:xfrm>
        </p:spPr>
      </p:pic>
      <p:pic>
        <p:nvPicPr>
          <p:cNvPr id="57" name="Picture Placeholder 56" descr="A red background with black text&#10;&#10;Description automatically generated">
            <a:extLst>
              <a:ext uri="{FF2B5EF4-FFF2-40B4-BE49-F238E27FC236}">
                <a16:creationId xmlns:a16="http://schemas.microsoft.com/office/drawing/2014/main" id="{E3FC9F39-CCAA-4471-AD13-9A1E8910217A}"/>
              </a:ext>
            </a:extLst>
          </p:cNvPr>
          <p:cNvPicPr>
            <a:picLocks noGrp="1" noChangeAspect="1"/>
          </p:cNvPicPr>
          <p:nvPr>
            <p:ph type="pic" sz="quarter" idx="49"/>
          </p:nvPr>
        </p:nvPicPr>
        <p:blipFill>
          <a:blip r:embed="rId8" cstate="hqprint">
            <a:extLst>
              <a:ext uri="{28A0092B-C50C-407E-A947-70E740481C1C}">
                <a14:useLocalDpi xmlns:a14="http://schemas.microsoft.com/office/drawing/2010/main"/>
              </a:ext>
            </a:extLst>
          </a:blip>
          <a:srcRect/>
          <a:stretch>
            <a:fillRect/>
          </a:stretch>
        </p:blipFill>
        <p:spPr>
          <a:xfrm>
            <a:off x="3729038" y="4060825"/>
            <a:ext cx="1598612" cy="2362200"/>
          </a:xfrm>
        </p:spPr>
      </p:pic>
      <p:pic>
        <p:nvPicPr>
          <p:cNvPr id="63" name="Picture Placeholder 62" descr="A black background with green text&#10;&#10;Description automatically generated">
            <a:extLst>
              <a:ext uri="{FF2B5EF4-FFF2-40B4-BE49-F238E27FC236}">
                <a16:creationId xmlns:a16="http://schemas.microsoft.com/office/drawing/2014/main" id="{336D8805-127D-414E-A294-49EA2C0B0185}"/>
              </a:ext>
            </a:extLst>
          </p:cNvPr>
          <p:cNvPicPr>
            <a:picLocks noGrp="1" noChangeAspect="1"/>
          </p:cNvPicPr>
          <p:nvPr>
            <p:ph type="pic" sz="quarter" idx="51"/>
          </p:nvPr>
        </p:nvPicPr>
        <p:blipFill>
          <a:blip r:embed="rId9" cstate="hqprint">
            <a:extLst>
              <a:ext uri="{28A0092B-C50C-407E-A947-70E740481C1C}">
                <a14:useLocalDpi xmlns:a14="http://schemas.microsoft.com/office/drawing/2010/main"/>
              </a:ext>
            </a:extLst>
          </a:blip>
          <a:srcRect/>
          <a:stretch>
            <a:fillRect/>
          </a:stretch>
        </p:blipFill>
        <p:spPr>
          <a:xfrm>
            <a:off x="9934575" y="4059238"/>
            <a:ext cx="1598613" cy="2362200"/>
          </a:xfrm>
        </p:spPr>
      </p:pic>
      <p:pic>
        <p:nvPicPr>
          <p:cNvPr id="61" name="Picture Placeholder 60" descr="A logo of a movie&#10;&#10;Description automatically generated">
            <a:extLst>
              <a:ext uri="{FF2B5EF4-FFF2-40B4-BE49-F238E27FC236}">
                <a16:creationId xmlns:a16="http://schemas.microsoft.com/office/drawing/2014/main" id="{C5EAE830-5382-4AFB-A289-40E6F37855A0}"/>
              </a:ext>
            </a:extLst>
          </p:cNvPr>
          <p:cNvPicPr>
            <a:picLocks noGrp="1" noChangeAspect="1"/>
          </p:cNvPicPr>
          <p:nvPr>
            <p:ph type="pic" sz="quarter" idx="46"/>
          </p:nvPr>
        </p:nvPicPr>
        <p:blipFill>
          <a:blip r:embed="rId10" cstate="hqprint">
            <a:extLst>
              <a:ext uri="{28A0092B-C50C-407E-A947-70E740481C1C}">
                <a14:useLocalDpi xmlns:a14="http://schemas.microsoft.com/office/drawing/2010/main"/>
              </a:ext>
            </a:extLst>
          </a:blip>
          <a:srcRect/>
          <a:stretch>
            <a:fillRect/>
          </a:stretch>
        </p:blipFill>
        <p:spPr>
          <a:xfrm>
            <a:off x="7904163" y="4060825"/>
            <a:ext cx="1600200" cy="2362200"/>
          </a:xfrm>
        </p:spPr>
      </p:pic>
      <p:pic>
        <p:nvPicPr>
          <p:cNvPr id="59" name="Picture Placeholder 58" descr="A blue coat and a red hat&#10;&#10;Description automatically generated">
            <a:extLst>
              <a:ext uri="{FF2B5EF4-FFF2-40B4-BE49-F238E27FC236}">
                <a16:creationId xmlns:a16="http://schemas.microsoft.com/office/drawing/2014/main" id="{5D82A86C-2FE3-45C9-A1F1-53D065F8F902}"/>
              </a:ext>
            </a:extLst>
          </p:cNvPr>
          <p:cNvPicPr>
            <a:picLocks noGrp="1" noChangeAspect="1"/>
          </p:cNvPicPr>
          <p:nvPr>
            <p:ph type="pic" sz="quarter" idx="50"/>
          </p:nvPr>
        </p:nvPicPr>
        <p:blipFill>
          <a:blip r:embed="rId11" cstate="hqprint">
            <a:extLst>
              <a:ext uri="{28A0092B-C50C-407E-A947-70E740481C1C}">
                <a14:useLocalDpi xmlns:a14="http://schemas.microsoft.com/office/drawing/2010/main"/>
              </a:ext>
            </a:extLst>
          </a:blip>
          <a:srcRect/>
          <a:stretch>
            <a:fillRect/>
          </a:stretch>
        </p:blipFill>
        <p:spPr>
          <a:xfrm>
            <a:off x="5854700" y="4060825"/>
            <a:ext cx="1598613" cy="2362200"/>
          </a:xfrm>
        </p:spPr>
      </p:pic>
    </p:spTree>
    <p:extLst>
      <p:ext uri="{BB962C8B-B14F-4D97-AF65-F5344CB8AC3E}">
        <p14:creationId xmlns:p14="http://schemas.microsoft.com/office/powerpoint/2010/main" val="3482975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4B9F03D9-2B03-1B46-9E4E-AF5BDA70FAD6}"/>
    </a:ext>
  </a:extLst>
</a:theme>
</file>

<file path=ppt/theme/theme10.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77D2BE2C-4F9E-A04C-A456-227C2C097814}"/>
    </a:ext>
  </a:extLst>
</a:theme>
</file>

<file path=ppt/theme/theme11.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1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66DD7B46-FE08-E64D-8C17-7647794C420B}"/>
    </a:ext>
  </a:extLst>
</a:theme>
</file>

<file path=ppt/theme/theme3.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9092EFB8-A9CD-9D46-ADE9-1028CD8DB5B6}"/>
    </a:ext>
  </a:extLst>
</a:theme>
</file>

<file path=ppt/theme/theme4.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52D6F781-72C9-594C-804A-B28FA2E91ECB}"/>
    </a:ext>
  </a:extLst>
</a:theme>
</file>

<file path=ppt/theme/theme5.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BA9F80D9-4C9E-3646-9128-55C733CFCFFA}"/>
    </a:ext>
  </a:extLst>
</a:theme>
</file>

<file path=ppt/theme/theme6.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2D957F66-2E62-AF45-89E2-EFF4CE047983}"/>
    </a:ext>
  </a:extLst>
</a:theme>
</file>

<file path=ppt/theme/theme7.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8.xml><?xml version="1.0" encoding="utf-8"?>
<a:theme xmlns:a="http://schemas.openxmlformats.org/drawingml/2006/main" name="1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9.xml><?xml version="1.0" encoding="utf-8"?>
<a:theme xmlns:a="http://schemas.openxmlformats.org/drawingml/2006/main" name="14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CF8127FAEC31A48AE6F1C492DD759CF" ma:contentTypeVersion="11" ma:contentTypeDescription="Create a new document." ma:contentTypeScope="" ma:versionID="75fd114586f2ff9cdded708ed4d9e985">
  <xsd:schema xmlns:xsd="http://www.w3.org/2001/XMLSchema" xmlns:xs="http://www.w3.org/2001/XMLSchema" xmlns:p="http://schemas.microsoft.com/office/2006/metadata/properties" xmlns:ns2="a780b68c-c101-4594-8485-2bb2f67a1cfe" xmlns:ns3="b71b7d94-64a5-4a69-8ffc-dc246ac1712f" targetNamespace="http://schemas.microsoft.com/office/2006/metadata/properties" ma:root="true" ma:fieldsID="191ae462e525be489b856f1c59b9097a" ns2:_="" ns3:_="">
    <xsd:import namespace="a780b68c-c101-4594-8485-2bb2f67a1cfe"/>
    <xsd:import namespace="b71b7d94-64a5-4a69-8ffc-dc246ac1712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80b68c-c101-4594-8485-2bb2f67a1c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71b7d94-64a5-4a69-8ffc-dc246ac1712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1268680-F857-425E-B6B9-312A2294A8B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780b68c-c101-4594-8485-2bb2f67a1cfe"/>
    <ds:schemaRef ds:uri="b71b7d94-64a5-4a69-8ffc-dc246ac1712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9AA31DF-6542-4462-A640-00E2E20BFA11}">
  <ds:schemaRefs>
    <ds:schemaRef ds:uri="http://purl.org/dc/elements/1.1/"/>
    <ds:schemaRef ds:uri="b71b7d94-64a5-4a69-8ffc-dc246ac1712f"/>
    <ds:schemaRef ds:uri="http://purl.org/dc/terms/"/>
    <ds:schemaRef ds:uri="http://schemas.microsoft.com/office/2006/metadata/properties"/>
    <ds:schemaRef ds:uri="http://www.w3.org/XML/1998/namespace"/>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a780b68c-c101-4594-8485-2bb2f67a1cfe"/>
  </ds:schemaRefs>
</ds:datastoreItem>
</file>

<file path=customXml/itemProps3.xml><?xml version="1.0" encoding="utf-8"?>
<ds:datastoreItem xmlns:ds="http://schemas.openxmlformats.org/officeDocument/2006/customXml" ds:itemID="{138EF554-C920-4940-9A1F-D4DCFEE44EE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208</TotalTime>
  <Words>611</Words>
  <Application>Microsoft Office PowerPoint</Application>
  <PresentationFormat>Custom</PresentationFormat>
  <Paragraphs>65</Paragraphs>
  <Slides>8</Slides>
  <Notes>1</Notes>
  <HiddenSlides>0</HiddenSlides>
  <MMClips>0</MMClips>
  <ScaleCrop>false</ScaleCrop>
  <HeadingPairs>
    <vt:vector size="8" baseType="variant">
      <vt:variant>
        <vt:lpstr>Fonts Used</vt:lpstr>
      </vt:variant>
      <vt:variant>
        <vt:i4>6</vt:i4>
      </vt:variant>
      <vt:variant>
        <vt:lpstr>Theme</vt:lpstr>
      </vt:variant>
      <vt:variant>
        <vt:i4>11</vt:i4>
      </vt:variant>
      <vt:variant>
        <vt:lpstr>Embedded OLE Servers</vt:lpstr>
      </vt:variant>
      <vt:variant>
        <vt:i4>1</vt:i4>
      </vt:variant>
      <vt:variant>
        <vt:lpstr>Slide Titles</vt:lpstr>
      </vt:variant>
      <vt:variant>
        <vt:i4>8</vt:i4>
      </vt:variant>
    </vt:vector>
  </HeadingPairs>
  <TitlesOfParts>
    <vt:vector size="26" baseType="lpstr">
      <vt:lpstr>Arial</vt:lpstr>
      <vt:lpstr>Calibri</vt:lpstr>
      <vt:lpstr>Century Gothic</vt:lpstr>
      <vt:lpstr>Graphik</vt:lpstr>
      <vt:lpstr>Impact</vt:lpstr>
      <vt:lpstr>Wingdings</vt:lpstr>
      <vt:lpstr>Divider Slides</vt:lpstr>
      <vt:lpstr>Video Slides</vt:lpstr>
      <vt:lpstr>Charts and Graphs Slides</vt:lpstr>
      <vt:lpstr>Appendix Slides</vt:lpstr>
      <vt:lpstr>Colour background slides</vt:lpstr>
      <vt:lpstr>Blank with title</vt:lpstr>
      <vt:lpstr>1_Blank with title</vt:lpstr>
      <vt:lpstr>1_Copy Slides</vt:lpstr>
      <vt:lpstr>14_Copy Slides</vt:lpstr>
      <vt:lpstr>Image Slides</vt:lpstr>
      <vt:lpstr>Copy Slides</vt:lpstr>
      <vt:lpstr>think-cell Slide</vt:lpstr>
      <vt:lpstr>CINEMA through a recession</vt:lpstr>
      <vt:lpstr>In the UK CINEMAGOING REMAINS A VALUED AND POPULAR ACTIVITY</vt:lpstr>
      <vt:lpstr>CINEMA REMAINS AN AFFORDABLE FORM OF ESCAPISM AND SOCIAL ACTIVITY </vt:lpstr>
      <vt:lpstr>CENTRAL LONDON PRICES AREN’T REFLECTIVE OF CINEMAS ACROSS GB</vt:lpstr>
      <vt:lpstr>DURING THE LAST RECESSION HUGE BLOCKBUSTERS STILL SUCCEEDED</vt:lpstr>
      <vt:lpstr>THE EXPERIENCE &amp; COMPELLING STORIES ENSURE CINEMA STANDS THE TEST OF TIME</vt:lpstr>
      <vt:lpstr>CINEMA ADVERTISING GREW ACROSS THE RECESSION VS. A DECLINING MARKET</vt:lpstr>
      <vt:lpstr>THE FILM SLATE LOOKS STRONG ACROSS 2024</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INEMA REMAINS AN AFFORDABLE FORM OF ESCAPISM AND SOCIAL ACTIVITY</dc:title>
  <dc:creator>Michael Tull</dc:creator>
  <cp:lastModifiedBy>Michael Tull</cp:lastModifiedBy>
  <cp:revision>13</cp:revision>
  <dcterms:created xsi:type="dcterms:W3CDTF">2022-05-13T10:19:47Z</dcterms:created>
  <dcterms:modified xsi:type="dcterms:W3CDTF">2024-01-29T14:35:16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y fmtid="{D5CDD505-2E9C-101B-9397-08002B2CF9AE}" pid="3" name="ContentTypeId">
    <vt:lpwstr>0x0101000CF8127FAEC31A48AE6F1C492DD759CF</vt:lpwstr>
  </property>
</Properties>
</file>